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29.xml" ContentType="application/vnd.ms-office.chartcolorstyle+xml"/>
  <Override PartName="/ppt/charts/colors33.xml" ContentType="application/vnd.ms-office.chartcolorstyle+xml"/>
  <Override PartName="/ppt/charts/colors330.xml" ContentType="application/vnd.ms-office.chartcolorstyle+xml"/>
  <Override PartName="/ppt/charts/colors331.xml" ContentType="application/vnd.ms-office.chartcolorstyle+xml"/>
  <Override PartName="/ppt/charts/colors332.xml" ContentType="application/vnd.ms-office.chartcolorstyle+xml"/>
  <Override PartName="/ppt/charts/colors333.xml" ContentType="application/vnd.ms-office.chartcolorstyle+xml"/>
  <Override PartName="/ppt/charts/colors334.xml" ContentType="application/vnd.ms-office.chartcolorstyle+xml"/>
  <Override PartName="/ppt/charts/colors335.xml" ContentType="application/vnd.ms-office.chartcolorstyle+xml"/>
  <Override PartName="/ppt/charts/colors336.xml" ContentType="application/vnd.ms-office.chartcolorstyle+xml"/>
  <Override PartName="/ppt/charts/colors337.xml" ContentType="application/vnd.ms-office.chartcolorstyle+xml"/>
  <Override PartName="/ppt/charts/colors338.xml" ContentType="application/vnd.ms-office.chartcolorstyle+xml"/>
  <Override PartName="/ppt/charts/colors339.xml" ContentType="application/vnd.ms-office.chartcolorstyle+xml"/>
  <Override PartName="/ppt/charts/colors34.xml" ContentType="application/vnd.ms-office.chartcolorstyle+xml"/>
  <Override PartName="/ppt/charts/colors340.xml" ContentType="application/vnd.ms-office.chartcolorstyle+xml"/>
  <Override PartName="/ppt/charts/colors341.xml" ContentType="application/vnd.ms-office.chartcolorstyle+xml"/>
  <Override PartName="/ppt/charts/colors342.xml" ContentType="application/vnd.ms-office.chartcolorstyle+xml"/>
  <Override PartName="/ppt/charts/colors343.xml" ContentType="application/vnd.ms-office.chartcolorstyle+xml"/>
  <Override PartName="/ppt/charts/colors344.xml" ContentType="application/vnd.ms-office.chartcolorstyle+xml"/>
  <Override PartName="/ppt/charts/colors345.xml" ContentType="application/vnd.ms-office.chartcolorstyle+xml"/>
  <Override PartName="/ppt/charts/colors346.xml" ContentType="application/vnd.ms-office.chartcolorstyle+xml"/>
  <Override PartName="/ppt/charts/colors347.xml" ContentType="application/vnd.ms-office.chartcolorstyle+xml"/>
  <Override PartName="/ppt/charts/colors348.xml" ContentType="application/vnd.ms-office.chartcolorstyle+xml"/>
  <Override PartName="/ppt/charts/colors349.xml" ContentType="application/vnd.ms-office.chartcolorstyle+xml"/>
  <Override PartName="/ppt/charts/colors35.xml" ContentType="application/vnd.ms-office.chartcolorstyle+xml"/>
  <Override PartName="/ppt/charts/colors350.xml" ContentType="application/vnd.ms-office.chartcolorstyle+xml"/>
  <Override PartName="/ppt/charts/colors351.xml" ContentType="application/vnd.ms-office.chartcolorstyle+xml"/>
  <Override PartName="/ppt/charts/colors352.xml" ContentType="application/vnd.ms-office.chartcolorstyle+xml"/>
  <Override PartName="/ppt/charts/colors353.xml" ContentType="application/vnd.ms-office.chartcolorstyle+xml"/>
  <Override PartName="/ppt/charts/colors354.xml" ContentType="application/vnd.ms-office.chartcolorstyle+xml"/>
  <Override PartName="/ppt/charts/colors355.xml" ContentType="application/vnd.ms-office.chartcolorstyle+xml"/>
  <Override PartName="/ppt/charts/colors356.xml" ContentType="application/vnd.ms-office.chartcolorstyle+xml"/>
  <Override PartName="/ppt/charts/colors357.xml" ContentType="application/vnd.ms-office.chartcolorstyle+xml"/>
  <Override PartName="/ppt/charts/colors358.xml" ContentType="application/vnd.ms-office.chartcolorstyle+xml"/>
  <Override PartName="/ppt/charts/colors359.xml" ContentType="application/vnd.ms-office.chartcolorstyle+xml"/>
  <Override PartName="/ppt/charts/colors36.xml" ContentType="application/vnd.ms-office.chartcolorstyle+xml"/>
  <Override PartName="/ppt/charts/colors360.xml" ContentType="application/vnd.ms-office.chartcolorstyle+xml"/>
  <Override PartName="/ppt/charts/colors361.xml" ContentType="application/vnd.ms-office.chartcolorstyle+xml"/>
  <Override PartName="/ppt/charts/colors362.xml" ContentType="application/vnd.ms-office.chartcolorstyle+xml"/>
  <Override PartName="/ppt/charts/colors363.xml" ContentType="application/vnd.ms-office.chartcolorstyle+xml"/>
  <Override PartName="/ppt/charts/colors364.xml" ContentType="application/vnd.ms-office.chartcolorstyle+xml"/>
  <Override PartName="/ppt/charts/colors365.xml" ContentType="application/vnd.ms-office.chartcolorstyle+xml"/>
  <Override PartName="/ppt/charts/colors366.xml" ContentType="application/vnd.ms-office.chartcolorstyle+xml"/>
  <Override PartName="/ppt/charts/colors367.xml" ContentType="application/vnd.ms-office.chartcolorstyle+xml"/>
  <Override PartName="/ppt/charts/colors368.xml" ContentType="application/vnd.ms-office.chartcolorstyle+xml"/>
  <Override PartName="/ppt/charts/colors369.xml" ContentType="application/vnd.ms-office.chartcolorstyle+xml"/>
  <Override PartName="/ppt/charts/colors37.xml" ContentType="application/vnd.ms-office.chartcolorstyle+xml"/>
  <Override PartName="/ppt/charts/colors370.xml" ContentType="application/vnd.ms-office.chartcolorstyle+xml"/>
  <Override PartName="/ppt/charts/colors371.xml" ContentType="application/vnd.ms-office.chartcolorstyle+xml"/>
  <Override PartName="/ppt/charts/colors372.xml" ContentType="application/vnd.ms-office.chartcolorstyle+xml"/>
  <Override PartName="/ppt/charts/colors373.xml" ContentType="application/vnd.ms-office.chartcolorstyle+xml"/>
  <Override PartName="/ppt/charts/colors374.xml" ContentType="application/vnd.ms-office.chartcolorstyle+xml"/>
  <Override PartName="/ppt/charts/colors375.xml" ContentType="application/vnd.ms-office.chartcolorstyle+xml"/>
  <Override PartName="/ppt/charts/colors376.xml" ContentType="application/vnd.ms-office.chartcolorstyle+xml"/>
  <Override PartName="/ppt/charts/colors377.xml" ContentType="application/vnd.ms-office.chartcolorstyle+xml"/>
  <Override PartName="/ppt/charts/colors378.xml" ContentType="application/vnd.ms-office.chartcolorstyle+xml"/>
  <Override PartName="/ppt/charts/colors379.xml" ContentType="application/vnd.ms-office.chartcolorstyle+xml"/>
  <Override PartName="/ppt/charts/colors38.xml" ContentType="application/vnd.ms-office.chartcolorstyle+xml"/>
  <Override PartName="/ppt/charts/colors380.xml" ContentType="application/vnd.ms-office.chartcolorstyle+xml"/>
  <Override PartName="/ppt/charts/colors381.xml" ContentType="application/vnd.ms-office.chartcolorstyle+xml"/>
  <Override PartName="/ppt/charts/colors382.xml" ContentType="application/vnd.ms-office.chartcolorstyle+xml"/>
  <Override PartName="/ppt/charts/colors383.xml" ContentType="application/vnd.ms-office.chartcolorstyle+xml"/>
  <Override PartName="/ppt/charts/colors384.xml" ContentType="application/vnd.ms-office.chartcolorstyle+xml"/>
  <Override PartName="/ppt/charts/colors385.xml" ContentType="application/vnd.ms-office.chartcolorstyle+xml"/>
  <Override PartName="/ppt/charts/colors386.xml" ContentType="application/vnd.ms-office.chartcolorstyle+xml"/>
  <Override PartName="/ppt/charts/colors387.xml" ContentType="application/vnd.ms-office.chartcolorstyle+xml"/>
  <Override PartName="/ppt/charts/colors388.xml" ContentType="application/vnd.ms-office.chartcolorstyle+xml"/>
  <Override PartName="/ppt/charts/colors389.xml" ContentType="application/vnd.ms-office.chartcolorstyle+xml"/>
  <Override PartName="/ppt/charts/colors39.xml" ContentType="application/vnd.ms-office.chartcolorstyle+xml"/>
  <Override PartName="/ppt/charts/colors390.xml" ContentType="application/vnd.ms-office.chartcolorstyle+xml"/>
  <Override PartName="/ppt/charts/colors391.xml" ContentType="application/vnd.ms-office.chartcolorstyle+xml"/>
  <Override PartName="/ppt/charts/colors392.xml" ContentType="application/vnd.ms-office.chartcolorstyle+xml"/>
  <Override PartName="/ppt/charts/colors393.xml" ContentType="application/vnd.ms-office.chartcolorstyle+xml"/>
  <Override PartName="/ppt/charts/colors394.xml" ContentType="application/vnd.ms-office.chartcolorstyle+xml"/>
  <Override PartName="/ppt/charts/colors395.xml" ContentType="application/vnd.ms-office.chartcolorstyle+xml"/>
  <Override PartName="/ppt/charts/colors396.xml" ContentType="application/vnd.ms-office.chartcolorstyle+xml"/>
  <Override PartName="/ppt/charts/colors397.xml" ContentType="application/vnd.ms-office.chartcolorstyle+xml"/>
  <Override PartName="/ppt/charts/colors398.xml" ContentType="application/vnd.ms-office.chartcolorstyle+xml"/>
  <Override PartName="/ppt/charts/colors399.xml" ContentType="application/vnd.ms-office.chartcolorstyle+xml"/>
  <Override PartName="/ppt/charts/colors4.xml" ContentType="application/vnd.ms-office.chartcolorstyle+xml"/>
  <Override PartName="/ppt/charts/colors40.xml" ContentType="application/vnd.ms-office.chartcolorstyle+xml"/>
  <Override PartName="/ppt/charts/colors400.xml" ContentType="application/vnd.ms-office.chartcolorstyle+xml"/>
  <Override PartName="/ppt/charts/colors401.xml" ContentType="application/vnd.ms-office.chartcolorstyle+xml"/>
  <Override PartName="/ppt/charts/colors402.xml" ContentType="application/vnd.ms-office.chartcolorstyle+xml"/>
  <Override PartName="/ppt/charts/colors403.xml" ContentType="application/vnd.ms-office.chartcolorstyle+xml"/>
  <Override PartName="/ppt/charts/colors404.xml" ContentType="application/vnd.ms-office.chartcolorstyle+xml"/>
  <Override PartName="/ppt/charts/colors405.xml" ContentType="application/vnd.ms-office.chartcolorstyle+xml"/>
  <Override PartName="/ppt/charts/colors406.xml" ContentType="application/vnd.ms-office.chartcolorstyle+xml"/>
  <Override PartName="/ppt/charts/colors407.xml" ContentType="application/vnd.ms-office.chartcolorstyle+xml"/>
  <Override PartName="/ppt/charts/colors408.xml" ContentType="application/vnd.ms-office.chartcolorstyle+xml"/>
  <Override PartName="/ppt/charts/colors409.xml" ContentType="application/vnd.ms-office.chartcolorstyle+xml"/>
  <Override PartName="/ppt/charts/colors41.xml" ContentType="application/vnd.ms-office.chartcolorstyle+xml"/>
  <Override PartName="/ppt/charts/colors410.xml" ContentType="application/vnd.ms-office.chartcolorstyle+xml"/>
  <Override PartName="/ppt/charts/colors411.xml" ContentType="application/vnd.ms-office.chartcolorstyle+xml"/>
  <Override PartName="/ppt/charts/colors412.xml" ContentType="application/vnd.ms-office.chartcolorstyle+xml"/>
  <Override PartName="/ppt/charts/colors413.xml" ContentType="application/vnd.ms-office.chartcolorstyle+xml"/>
  <Override PartName="/ppt/charts/colors414.xml" ContentType="application/vnd.ms-office.chartcolorstyle+xml"/>
  <Override PartName="/ppt/charts/colors415.xml" ContentType="application/vnd.ms-office.chartcolorstyle+xml"/>
  <Override PartName="/ppt/charts/colors416.xml" ContentType="application/vnd.ms-office.chartcolorstyle+xml"/>
  <Override PartName="/ppt/charts/colors417.xml" ContentType="application/vnd.ms-office.chartcolorstyle+xml"/>
  <Override PartName="/ppt/charts/colors418.xml" ContentType="application/vnd.ms-office.chartcolorstyle+xml"/>
  <Override PartName="/ppt/charts/colors419.xml" ContentType="application/vnd.ms-office.chartcolorstyle+xml"/>
  <Override PartName="/ppt/charts/colors42.xml" ContentType="application/vnd.ms-office.chartcolorstyle+xml"/>
  <Override PartName="/ppt/charts/colors420.xml" ContentType="application/vnd.ms-office.chartcolorstyle+xml"/>
  <Override PartName="/ppt/charts/colors421.xml" ContentType="application/vnd.ms-office.chartcolorstyle+xml"/>
  <Override PartName="/ppt/charts/colors422.xml" ContentType="application/vnd.ms-office.chartcolorstyle+xml"/>
  <Override PartName="/ppt/charts/colors423.xml" ContentType="application/vnd.ms-office.chartcolorstyle+xml"/>
  <Override PartName="/ppt/charts/colors424.xml" ContentType="application/vnd.ms-office.chartcolorstyle+xml"/>
  <Override PartName="/ppt/charts/colors425.xml" ContentType="application/vnd.ms-office.chartcolorstyle+xml"/>
  <Override PartName="/ppt/charts/colors426.xml" ContentType="application/vnd.ms-office.chartcolorstyle+xml"/>
  <Override PartName="/ppt/charts/colors427.xml" ContentType="application/vnd.ms-office.chartcolorstyle+xml"/>
  <Override PartName="/ppt/charts/colors428.xml" ContentType="application/vnd.ms-office.chartcolorstyle+xml"/>
  <Override PartName="/ppt/charts/colors429.xml" ContentType="application/vnd.ms-office.chartcolorstyle+xml"/>
  <Override PartName="/ppt/charts/colors43.xml" ContentType="application/vnd.ms-office.chartcolorstyle+xml"/>
  <Override PartName="/ppt/charts/colors430.xml" ContentType="application/vnd.ms-office.chartcolorstyle+xml"/>
  <Override PartName="/ppt/charts/colors431.xml" ContentType="application/vnd.ms-office.chartcolorstyle+xml"/>
  <Override PartName="/ppt/charts/colors432.xml" ContentType="application/vnd.ms-office.chartcolorstyle+xml"/>
  <Override PartName="/ppt/charts/colors433.xml" ContentType="application/vnd.ms-office.chartcolorstyle+xml"/>
  <Override PartName="/ppt/charts/colors434.xml" ContentType="application/vnd.ms-office.chartcolorstyle+xml"/>
  <Override PartName="/ppt/charts/colors435.xml" ContentType="application/vnd.ms-office.chartcolorstyle+xml"/>
  <Override PartName="/ppt/charts/colors436.xml" ContentType="application/vnd.ms-office.chartcolorstyle+xml"/>
  <Override PartName="/ppt/charts/colors437.xml" ContentType="application/vnd.ms-office.chartcolorstyle+xml"/>
  <Override PartName="/ppt/charts/colors438.xml" ContentType="application/vnd.ms-office.chartcolorstyle+xml"/>
  <Override PartName="/ppt/charts/colors439.xml" ContentType="application/vnd.ms-office.chartcolorstyle+xml"/>
  <Override PartName="/ppt/charts/colors44.xml" ContentType="application/vnd.ms-office.chartcolorstyle+xml"/>
  <Override PartName="/ppt/charts/colors440.xml" ContentType="application/vnd.ms-office.chartcolorstyle+xml"/>
  <Override PartName="/ppt/charts/colors441.xml" ContentType="application/vnd.ms-office.chartcolorstyle+xml"/>
  <Override PartName="/ppt/charts/colors442.xml" ContentType="application/vnd.ms-office.chartcolorstyle+xml"/>
  <Override PartName="/ppt/charts/colors443.xml" ContentType="application/vnd.ms-office.chartcolorstyle+xml"/>
  <Override PartName="/ppt/charts/colors444.xml" ContentType="application/vnd.ms-office.chartcolorstyle+xml"/>
  <Override PartName="/ppt/charts/colors445.xml" ContentType="application/vnd.ms-office.chartcolorstyle+xml"/>
  <Override PartName="/ppt/charts/colors446.xml" ContentType="application/vnd.ms-office.chartcolorstyle+xml"/>
  <Override PartName="/ppt/charts/colors447.xml" ContentType="application/vnd.ms-office.chartcolorstyle+xml"/>
  <Override PartName="/ppt/charts/colors448.xml" ContentType="application/vnd.ms-office.chartcolorstyle+xml"/>
  <Override PartName="/ppt/charts/colors449.xml" ContentType="application/vnd.ms-office.chartcolorstyle+xml"/>
  <Override PartName="/ppt/charts/colors45.xml" ContentType="application/vnd.ms-office.chartcolorstyle+xml"/>
  <Override PartName="/ppt/charts/colors450.xml" ContentType="application/vnd.ms-office.chartcolorstyle+xml"/>
  <Override PartName="/ppt/charts/colors451.xml" ContentType="application/vnd.ms-office.chartcolorstyle+xml"/>
  <Override PartName="/ppt/charts/colors452.xml" ContentType="application/vnd.ms-office.chartcolorstyle+xml"/>
  <Override PartName="/ppt/charts/colors453.xml" ContentType="application/vnd.ms-office.chartcolorstyle+xml"/>
  <Override PartName="/ppt/charts/colors454.xml" ContentType="application/vnd.ms-office.chartcolorstyle+xml"/>
  <Override PartName="/ppt/charts/colors455.xml" ContentType="application/vnd.ms-office.chartcolorstyle+xml"/>
  <Override PartName="/ppt/charts/colors456.xml" ContentType="application/vnd.ms-office.chartcolorstyle+xml"/>
  <Override PartName="/ppt/charts/colors457.xml" ContentType="application/vnd.ms-office.chartcolorstyle+xml"/>
  <Override PartName="/ppt/charts/colors458.xml" ContentType="application/vnd.ms-office.chartcolorstyle+xml"/>
  <Override PartName="/ppt/charts/colors459.xml" ContentType="application/vnd.ms-office.chartcolorstyle+xml"/>
  <Override PartName="/ppt/charts/colors46.xml" ContentType="application/vnd.ms-office.chartcolorstyle+xml"/>
  <Override PartName="/ppt/charts/colors460.xml" ContentType="application/vnd.ms-office.chartcolorstyle+xml"/>
  <Override PartName="/ppt/charts/colors461.xml" ContentType="application/vnd.ms-office.chartcolorstyle+xml"/>
  <Override PartName="/ppt/charts/colors462.xml" ContentType="application/vnd.ms-office.chartcolorstyle+xml"/>
  <Override PartName="/ppt/charts/colors463.xml" ContentType="application/vnd.ms-office.chartcolorstyle+xml"/>
  <Override PartName="/ppt/charts/colors464.xml" ContentType="application/vnd.ms-office.chartcolorstyle+xml"/>
  <Override PartName="/ppt/charts/colors465.xml" ContentType="application/vnd.ms-office.chartcolorstyle+xml"/>
  <Override PartName="/ppt/charts/colors466.xml" ContentType="application/vnd.ms-office.chartcolorstyle+xml"/>
  <Override PartName="/ppt/charts/colors467.xml" ContentType="application/vnd.ms-office.chartcolorstyle+xml"/>
  <Override PartName="/ppt/charts/colors468.xml" ContentType="application/vnd.ms-office.chartcolorstyle+xml"/>
  <Override PartName="/ppt/charts/colors469.xml" ContentType="application/vnd.ms-office.chartcolorstyle+xml"/>
  <Override PartName="/ppt/charts/colors47.xml" ContentType="application/vnd.ms-office.chartcolorstyle+xml"/>
  <Override PartName="/ppt/charts/colors470.xml" ContentType="application/vnd.ms-office.chartcolorstyle+xml"/>
  <Override PartName="/ppt/charts/colors471.xml" ContentType="application/vnd.ms-office.chartcolorstyle+xml"/>
  <Override PartName="/ppt/charts/colors472.xml" ContentType="application/vnd.ms-office.chartcolorstyle+xml"/>
  <Override PartName="/ppt/charts/colors473.xml" ContentType="application/vnd.ms-office.chartcolorstyle+xml"/>
  <Override PartName="/ppt/charts/colors474.xml" ContentType="application/vnd.ms-office.chartcolorstyle+xml"/>
  <Override PartName="/ppt/charts/colors475.xml" ContentType="application/vnd.ms-office.chartcolorstyle+xml"/>
  <Override PartName="/ppt/charts/colors476.xml" ContentType="application/vnd.ms-office.chartcolorstyle+xml"/>
  <Override PartName="/ppt/charts/colors477.xml" ContentType="application/vnd.ms-office.chartcolorstyle+xml"/>
  <Override PartName="/ppt/charts/colors478.xml" ContentType="application/vnd.ms-office.chartcolorstyle+xml"/>
  <Override PartName="/ppt/charts/colors479.xml" ContentType="application/vnd.ms-office.chartcolorstyle+xml"/>
  <Override PartName="/ppt/charts/colors48.xml" ContentType="application/vnd.ms-office.chartcolorstyle+xml"/>
  <Override PartName="/ppt/charts/colors480.xml" ContentType="application/vnd.ms-office.chartcolorstyle+xml"/>
  <Override PartName="/ppt/charts/colors481.xml" ContentType="application/vnd.ms-office.chartcolorstyle+xml"/>
  <Override PartName="/ppt/charts/colors482.xml" ContentType="application/vnd.ms-office.chartcolorstyle+xml"/>
  <Override PartName="/ppt/charts/colors483.xml" ContentType="application/vnd.ms-office.chartcolorstyle+xml"/>
  <Override PartName="/ppt/charts/colors484.xml" ContentType="application/vnd.ms-office.chartcolorstyle+xml"/>
  <Override PartName="/ppt/charts/colors485.xml" ContentType="application/vnd.ms-office.chartcolorstyle+xml"/>
  <Override PartName="/ppt/charts/colors486.xml" ContentType="application/vnd.ms-office.chartcolorstyle+xml"/>
  <Override PartName="/ppt/charts/colors487.xml" ContentType="application/vnd.ms-office.chartcolorstyle+xml"/>
  <Override PartName="/ppt/charts/colors488.xml" ContentType="application/vnd.ms-office.chartcolorstyle+xml"/>
  <Override PartName="/ppt/charts/colors489.xml" ContentType="application/vnd.ms-office.chartcolorstyle+xml"/>
  <Override PartName="/ppt/charts/colors49.xml" ContentType="application/vnd.ms-office.chartcolorstyle+xml"/>
  <Override PartName="/ppt/charts/colors490.xml" ContentType="application/vnd.ms-office.chartcolorstyle+xml"/>
  <Override PartName="/ppt/charts/colors491.xml" ContentType="application/vnd.ms-office.chartcolorstyle+xml"/>
  <Override PartName="/ppt/charts/colors492.xml" ContentType="application/vnd.ms-office.chartcolorstyle+xml"/>
  <Override PartName="/ppt/charts/colors493.xml" ContentType="application/vnd.ms-office.chartcolorstyle+xml"/>
  <Override PartName="/ppt/charts/colors494.xml" ContentType="application/vnd.ms-office.chartcolorstyle+xml"/>
  <Override PartName="/ppt/charts/colors495.xml" ContentType="application/vnd.ms-office.chartcolorstyle+xml"/>
  <Override PartName="/ppt/charts/colors496.xml" ContentType="application/vnd.ms-office.chartcolorstyle+xml"/>
  <Override PartName="/ppt/charts/colors497.xml" ContentType="application/vnd.ms-office.chartcolorstyle+xml"/>
  <Override PartName="/ppt/charts/colors498.xml" ContentType="application/vnd.ms-office.chartcolorstyle+xml"/>
  <Override PartName="/ppt/charts/colors499.xml" ContentType="application/vnd.ms-office.chartcolorstyle+xml"/>
  <Override PartName="/ppt/charts/colors5.xml" ContentType="application/vnd.ms-office.chartcolorstyle+xml"/>
  <Override PartName="/ppt/charts/colors50.xml" ContentType="application/vnd.ms-office.chartcolorstyle+xml"/>
  <Override PartName="/ppt/charts/colors500.xml" ContentType="application/vnd.ms-office.chartcolorstyle+xml"/>
  <Override PartName="/ppt/charts/colors501.xml" ContentType="application/vnd.ms-office.chartcolorstyle+xml"/>
  <Override PartName="/ppt/charts/colors502.xml" ContentType="application/vnd.ms-office.chartcolorstyle+xml"/>
  <Override PartName="/ppt/charts/colors503.xml" ContentType="application/vnd.ms-office.chartcolorstyle+xml"/>
  <Override PartName="/ppt/charts/colors504.xml" ContentType="application/vnd.ms-office.chartcolorstyle+xml"/>
  <Override PartName="/ppt/charts/colors505.xml" ContentType="application/vnd.ms-office.chartcolorstyle+xml"/>
  <Override PartName="/ppt/charts/colors506.xml" ContentType="application/vnd.ms-office.chartcolorstyle+xml"/>
  <Override PartName="/ppt/charts/colors507.xml" ContentType="application/vnd.ms-office.chartcolorstyle+xml"/>
  <Override PartName="/ppt/charts/colors508.xml" ContentType="application/vnd.ms-office.chartcolorstyle+xml"/>
  <Override PartName="/ppt/charts/colors509.xml" ContentType="application/vnd.ms-office.chartcolorstyle+xml"/>
  <Override PartName="/ppt/charts/colors51.xml" ContentType="application/vnd.ms-office.chartcolorstyle+xml"/>
  <Override PartName="/ppt/charts/colors510.xml" ContentType="application/vnd.ms-office.chartcolorstyle+xml"/>
  <Override PartName="/ppt/charts/colors511.xml" ContentType="application/vnd.ms-office.chartcolorstyle+xml"/>
  <Override PartName="/ppt/charts/colors512.xml" ContentType="application/vnd.ms-office.chartcolorstyle+xml"/>
  <Override PartName="/ppt/charts/colors513.xml" ContentType="application/vnd.ms-office.chartcolorstyle+xml"/>
  <Override PartName="/ppt/charts/colors514.xml" ContentType="application/vnd.ms-office.chartcolorstyle+xml"/>
  <Override PartName="/ppt/charts/colors515.xml" ContentType="application/vnd.ms-office.chartcolorstyle+xml"/>
  <Override PartName="/ppt/charts/colors516.xml" ContentType="application/vnd.ms-office.chartcolorstyle+xml"/>
  <Override PartName="/ppt/charts/colors517.xml" ContentType="application/vnd.ms-office.chartcolorstyle+xml"/>
  <Override PartName="/ppt/charts/colors518.xml" ContentType="application/vnd.ms-office.chartcolorstyle+xml"/>
  <Override PartName="/ppt/charts/colors519.xml" ContentType="application/vnd.ms-office.chartcolorstyle+xml"/>
  <Override PartName="/ppt/charts/colors52.xml" ContentType="application/vnd.ms-office.chartcolorstyle+xml"/>
  <Override PartName="/ppt/charts/colors520.xml" ContentType="application/vnd.ms-office.chartcolorstyle+xml"/>
  <Override PartName="/ppt/charts/colors521.xml" ContentType="application/vnd.ms-office.chartcolorstyle+xml"/>
  <Override PartName="/ppt/charts/colors522.xml" ContentType="application/vnd.ms-office.chartcolorstyle+xml"/>
  <Override PartName="/ppt/charts/colors523.xml" ContentType="application/vnd.ms-office.chartcolorstyle+xml"/>
  <Override PartName="/ppt/charts/colors524.xml" ContentType="application/vnd.ms-office.chartcolorstyle+xml"/>
  <Override PartName="/ppt/charts/colors525.xml" ContentType="application/vnd.ms-office.chartcolorstyle+xml"/>
  <Override PartName="/ppt/charts/colors526.xml" ContentType="application/vnd.ms-office.chartcolorstyle+xml"/>
  <Override PartName="/ppt/charts/colors527.xml" ContentType="application/vnd.ms-office.chartcolorstyle+xml"/>
  <Override PartName="/ppt/charts/colors528.xml" ContentType="application/vnd.ms-office.chartcolorstyle+xml"/>
  <Override PartName="/ppt/charts/colors529.xml" ContentType="application/vnd.ms-office.chartcolorstyle+xml"/>
  <Override PartName="/ppt/charts/colors53.xml" ContentType="application/vnd.ms-office.chartcolorstyle+xml"/>
  <Override PartName="/ppt/charts/colors530.xml" ContentType="application/vnd.ms-office.chartcolorstyle+xml"/>
  <Override PartName="/ppt/charts/colors531.xml" ContentType="application/vnd.ms-office.chartcolorstyle+xml"/>
  <Override PartName="/ppt/charts/colors532.xml" ContentType="application/vnd.ms-office.chartcolorstyle+xml"/>
  <Override PartName="/ppt/charts/colors533.xml" ContentType="application/vnd.ms-office.chartcolorstyle+xml"/>
  <Override PartName="/ppt/charts/colors534.xml" ContentType="application/vnd.ms-office.chartcolorstyle+xml"/>
  <Override PartName="/ppt/charts/colors535.xml" ContentType="application/vnd.ms-office.chartcolorstyle+xml"/>
  <Override PartName="/ppt/charts/colors536.xml" ContentType="application/vnd.ms-office.chartcolorstyle+xml"/>
  <Override PartName="/ppt/charts/colors537.xml" ContentType="application/vnd.ms-office.chartcolorstyle+xml"/>
  <Override PartName="/ppt/charts/colors538.xml" ContentType="application/vnd.ms-office.chartcolorstyle+xml"/>
  <Override PartName="/ppt/charts/colors539.xml" ContentType="application/vnd.ms-office.chartcolorstyle+xml"/>
  <Override PartName="/ppt/charts/colors54.xml" ContentType="application/vnd.ms-office.chartcolorstyle+xml"/>
  <Override PartName="/ppt/charts/colors540.xml" ContentType="application/vnd.ms-office.chartcolorstyle+xml"/>
  <Override PartName="/ppt/charts/colors541.xml" ContentType="application/vnd.ms-office.chartcolorstyle+xml"/>
  <Override PartName="/ppt/charts/colors542.xml" ContentType="application/vnd.ms-office.chartcolorstyle+xml"/>
  <Override PartName="/ppt/charts/colors543.xml" ContentType="application/vnd.ms-office.chartcolorstyle+xml"/>
  <Override PartName="/ppt/charts/colors544.xml" ContentType="application/vnd.ms-office.chartcolorstyle+xml"/>
  <Override PartName="/ppt/charts/colors545.xml" ContentType="application/vnd.ms-office.chartcolorstyle+xml"/>
  <Override PartName="/ppt/charts/colors546.xml" ContentType="application/vnd.ms-office.chartcolorstyle+xml"/>
  <Override PartName="/ppt/charts/colors547.xml" ContentType="application/vnd.ms-office.chartcolorstyle+xml"/>
  <Override PartName="/ppt/charts/colors548.xml" ContentType="application/vnd.ms-office.chartcolorstyle+xml"/>
  <Override PartName="/ppt/charts/colors549.xml" ContentType="application/vnd.ms-office.chartcolorstyle+xml"/>
  <Override PartName="/ppt/charts/colors55.xml" ContentType="application/vnd.ms-office.chartcolorstyle+xml"/>
  <Override PartName="/ppt/charts/colors550.xml" ContentType="application/vnd.ms-office.chartcolorstyle+xml"/>
  <Override PartName="/ppt/charts/colors551.xml" ContentType="application/vnd.ms-office.chartcolorstyle+xml"/>
  <Override PartName="/ppt/charts/colors552.xml" ContentType="application/vnd.ms-office.chartcolorstyle+xml"/>
  <Override PartName="/ppt/charts/colors553.xml" ContentType="application/vnd.ms-office.chartcolorstyle+xml"/>
  <Override PartName="/ppt/charts/colors554.xml" ContentType="application/vnd.ms-office.chartcolorstyle+xml"/>
  <Override PartName="/ppt/charts/colors555.xml" ContentType="application/vnd.ms-office.chartcolorstyle+xml"/>
  <Override PartName="/ppt/charts/colors556.xml" ContentType="application/vnd.ms-office.chartcolorstyle+xml"/>
  <Override PartName="/ppt/charts/colors557.xml" ContentType="application/vnd.ms-office.chartcolorstyle+xml"/>
  <Override PartName="/ppt/charts/colors558.xml" ContentType="application/vnd.ms-office.chartcolorstyle+xml"/>
  <Override PartName="/ppt/charts/colors559.xml" ContentType="application/vnd.ms-office.chartcolorstyle+xml"/>
  <Override PartName="/ppt/charts/colors56.xml" ContentType="application/vnd.ms-office.chartcolorstyle+xml"/>
  <Override PartName="/ppt/charts/colors560.xml" ContentType="application/vnd.ms-office.chartcolorstyle+xml"/>
  <Override PartName="/ppt/charts/colors561.xml" ContentType="application/vnd.ms-office.chartcolorstyle+xml"/>
  <Override PartName="/ppt/charts/colors562.xml" ContentType="application/vnd.ms-office.chartcolorstyle+xml"/>
  <Override PartName="/ppt/charts/colors563.xml" ContentType="application/vnd.ms-office.chartcolorstyle+xml"/>
  <Override PartName="/ppt/charts/colors564.xml" ContentType="application/vnd.ms-office.chartcolorstyle+xml"/>
  <Override PartName="/ppt/charts/colors565.xml" ContentType="application/vnd.ms-office.chartcolorstyle+xml"/>
  <Override PartName="/ppt/charts/colors566.xml" ContentType="application/vnd.ms-office.chartcolorstyle+xml"/>
  <Override PartName="/ppt/charts/colors567.xml" ContentType="application/vnd.ms-office.chartcolorstyle+xml"/>
  <Override PartName="/ppt/charts/colors568.xml" ContentType="application/vnd.ms-office.chartcolorstyle+xml"/>
  <Override PartName="/ppt/charts/colors569.xml" ContentType="application/vnd.ms-office.chartcolorstyle+xml"/>
  <Override PartName="/ppt/charts/colors57.xml" ContentType="application/vnd.ms-office.chartcolorstyle+xml"/>
  <Override PartName="/ppt/charts/colors570.xml" ContentType="application/vnd.ms-office.chartcolorstyle+xml"/>
  <Override PartName="/ppt/charts/colors571.xml" ContentType="application/vnd.ms-office.chartcolorstyle+xml"/>
  <Override PartName="/ppt/charts/colors572.xml" ContentType="application/vnd.ms-office.chartcolorstyle+xml"/>
  <Override PartName="/ppt/charts/colors573.xml" ContentType="application/vnd.ms-office.chartcolorstyle+xml"/>
  <Override PartName="/ppt/charts/colors574.xml" ContentType="application/vnd.ms-office.chartcolorstyle+xml"/>
  <Override PartName="/ppt/charts/colors575.xml" ContentType="application/vnd.ms-office.chartcolorstyle+xml"/>
  <Override PartName="/ppt/charts/colors576.xml" ContentType="application/vnd.ms-office.chartcolorstyle+xml"/>
  <Override PartName="/ppt/charts/colors577.xml" ContentType="application/vnd.ms-office.chartcolorstyle+xml"/>
  <Override PartName="/ppt/charts/colors578.xml" ContentType="application/vnd.ms-office.chartcolorstyle+xml"/>
  <Override PartName="/ppt/charts/colors579.xml" ContentType="application/vnd.ms-office.chartcolorstyle+xml"/>
  <Override PartName="/ppt/charts/colors58.xml" ContentType="application/vnd.ms-office.chartcolorstyle+xml"/>
  <Override PartName="/ppt/charts/colors580.xml" ContentType="application/vnd.ms-office.chartcolorstyle+xml"/>
  <Override PartName="/ppt/charts/colors581.xml" ContentType="application/vnd.ms-office.chartcolorstyle+xml"/>
  <Override PartName="/ppt/charts/colors582.xml" ContentType="application/vnd.ms-office.chartcolorstyle+xml"/>
  <Override PartName="/ppt/charts/colors583.xml" ContentType="application/vnd.ms-office.chartcolorstyle+xml"/>
  <Override PartName="/ppt/charts/colors584.xml" ContentType="application/vnd.ms-office.chartcolorstyle+xml"/>
  <Override PartName="/ppt/charts/colors585.xml" ContentType="application/vnd.ms-office.chartcolorstyle+xml"/>
  <Override PartName="/ppt/charts/colors586.xml" ContentType="application/vnd.ms-office.chartcolorstyle+xml"/>
  <Override PartName="/ppt/charts/colors587.xml" ContentType="application/vnd.ms-office.chartcolorstyle+xml"/>
  <Override PartName="/ppt/charts/colors588.xml" ContentType="application/vnd.ms-office.chartcolorstyle+xml"/>
  <Override PartName="/ppt/charts/colors589.xml" ContentType="application/vnd.ms-office.chartcolorstyle+xml"/>
  <Override PartName="/ppt/charts/colors59.xml" ContentType="application/vnd.ms-office.chartcolorstyle+xml"/>
  <Override PartName="/ppt/charts/colors590.xml" ContentType="application/vnd.ms-office.chartcolorstyle+xml"/>
  <Override PartName="/ppt/charts/colors591.xml" ContentType="application/vnd.ms-office.chartcolorstyle+xml"/>
  <Override PartName="/ppt/charts/colors592.xml" ContentType="application/vnd.ms-office.chartcolorstyle+xml"/>
  <Override PartName="/ppt/charts/colors593.xml" ContentType="application/vnd.ms-office.chartcolorstyle+xml"/>
  <Override PartName="/ppt/charts/colors594.xml" ContentType="application/vnd.ms-office.chartcolorstyle+xml"/>
  <Override PartName="/ppt/charts/colors595.xml" ContentType="application/vnd.ms-office.chartcolorstyle+xml"/>
  <Override PartName="/ppt/charts/colors596.xml" ContentType="application/vnd.ms-office.chartcolorstyle+xml"/>
  <Override PartName="/ppt/charts/colors597.xml" ContentType="application/vnd.ms-office.chartcolorstyle+xml"/>
  <Override PartName="/ppt/charts/colors598.xml" ContentType="application/vnd.ms-office.chartcolorstyle+xml"/>
  <Override PartName="/ppt/charts/colors599.xml" ContentType="application/vnd.ms-office.chartcolorstyle+xml"/>
  <Override PartName="/ppt/charts/colors6.xml" ContentType="application/vnd.ms-office.chartcolorstyle+xml"/>
  <Override PartName="/ppt/charts/colors60.xml" ContentType="application/vnd.ms-office.chartcolorstyle+xml"/>
  <Override PartName="/ppt/charts/colors600.xml" ContentType="application/vnd.ms-office.chartcolorstyle+xml"/>
  <Override PartName="/ppt/charts/colors601.xml" ContentType="application/vnd.ms-office.chartcolorstyle+xml"/>
  <Override PartName="/ppt/charts/colors602.xml" ContentType="application/vnd.ms-office.chartcolorstyle+xml"/>
  <Override PartName="/ppt/charts/colors603.xml" ContentType="application/vnd.ms-office.chartcolorstyle+xml"/>
  <Override PartName="/ppt/charts/colors604.xml" ContentType="application/vnd.ms-office.chartcolorstyle+xml"/>
  <Override PartName="/ppt/charts/colors605.xml" ContentType="application/vnd.ms-office.chartcolorstyle+xml"/>
  <Override PartName="/ppt/charts/colors606.xml" ContentType="application/vnd.ms-office.chartcolorstyle+xml"/>
  <Override PartName="/ppt/charts/colors607.xml" ContentType="application/vnd.ms-office.chartcolorstyle+xml"/>
  <Override PartName="/ppt/charts/colors608.xml" ContentType="application/vnd.ms-office.chartcolorstyle+xml"/>
  <Override PartName="/ppt/charts/colors609.xml" ContentType="application/vnd.ms-office.chartcolorstyle+xml"/>
  <Override PartName="/ppt/charts/colors61.xml" ContentType="application/vnd.ms-office.chartcolorstyle+xml"/>
  <Override PartName="/ppt/charts/colors610.xml" ContentType="application/vnd.ms-office.chartcolorstyle+xml"/>
  <Override PartName="/ppt/charts/colors611.xml" ContentType="application/vnd.ms-office.chartcolorstyle+xml"/>
  <Override PartName="/ppt/charts/colors612.xml" ContentType="application/vnd.ms-office.chartcolorstyle+xml"/>
  <Override PartName="/ppt/charts/colors613.xml" ContentType="application/vnd.ms-office.chartcolorstyle+xml"/>
  <Override PartName="/ppt/charts/colors614.xml" ContentType="application/vnd.ms-office.chartcolorstyle+xml"/>
  <Override PartName="/ppt/charts/colors615.xml" ContentType="application/vnd.ms-office.chartcolorstyle+xml"/>
  <Override PartName="/ppt/charts/colors616.xml" ContentType="application/vnd.ms-office.chartcolorstyle+xml"/>
  <Override PartName="/ppt/charts/colors617.xml" ContentType="application/vnd.ms-office.chartcolorstyle+xml"/>
  <Override PartName="/ppt/charts/colors618.xml" ContentType="application/vnd.ms-office.chartcolorstyle+xml"/>
  <Override PartName="/ppt/charts/colors619.xml" ContentType="application/vnd.ms-office.chartcolorstyle+xml"/>
  <Override PartName="/ppt/charts/colors62.xml" ContentType="application/vnd.ms-office.chartcolorstyle+xml"/>
  <Override PartName="/ppt/charts/colors620.xml" ContentType="application/vnd.ms-office.chartcolorstyle+xml"/>
  <Override PartName="/ppt/charts/colors621.xml" ContentType="application/vnd.ms-office.chartcolorstyle+xml"/>
  <Override PartName="/ppt/charts/colors622.xml" ContentType="application/vnd.ms-office.chartcolorstyle+xml"/>
  <Override PartName="/ppt/charts/colors623.xml" ContentType="application/vnd.ms-office.chartcolorstyle+xml"/>
  <Override PartName="/ppt/charts/colors624.xml" ContentType="application/vnd.ms-office.chartcolorstyle+xml"/>
  <Override PartName="/ppt/charts/colors625.xml" ContentType="application/vnd.ms-office.chartcolorstyle+xml"/>
  <Override PartName="/ppt/charts/colors626.xml" ContentType="application/vnd.ms-office.chartcolorstyle+xml"/>
  <Override PartName="/ppt/charts/colors627.xml" ContentType="application/vnd.ms-office.chartcolorstyle+xml"/>
  <Override PartName="/ppt/charts/colors628.xml" ContentType="application/vnd.ms-office.chartcolorstyle+xml"/>
  <Override PartName="/ppt/charts/colors629.xml" ContentType="application/vnd.ms-office.chartcolorstyle+xml"/>
  <Override PartName="/ppt/charts/colors63.xml" ContentType="application/vnd.ms-office.chartcolorstyle+xml"/>
  <Override PartName="/ppt/charts/colors630.xml" ContentType="application/vnd.ms-office.chartcolorstyle+xml"/>
  <Override PartName="/ppt/charts/colors631.xml" ContentType="application/vnd.ms-office.chartcolorstyle+xml"/>
  <Override PartName="/ppt/charts/colors632.xml" ContentType="application/vnd.ms-office.chartcolorstyle+xml"/>
  <Override PartName="/ppt/charts/colors633.xml" ContentType="application/vnd.ms-office.chartcolorstyle+xml"/>
  <Override PartName="/ppt/charts/colors634.xml" ContentType="application/vnd.ms-office.chartcolorstyle+xml"/>
  <Override PartName="/ppt/charts/colors635.xml" ContentType="application/vnd.ms-office.chartcolorstyle+xml"/>
  <Override PartName="/ppt/charts/colors636.xml" ContentType="application/vnd.ms-office.chartcolorstyle+xml"/>
  <Override PartName="/ppt/charts/colors637.xml" ContentType="application/vnd.ms-office.chartcolorstyle+xml"/>
  <Override PartName="/ppt/charts/colors638.xml" ContentType="application/vnd.ms-office.chartcolorstyle+xml"/>
  <Override PartName="/ppt/charts/colors639.xml" ContentType="application/vnd.ms-office.chartcolorstyle+xml"/>
  <Override PartName="/ppt/charts/colors64.xml" ContentType="application/vnd.ms-office.chartcolorstyle+xml"/>
  <Override PartName="/ppt/charts/colors640.xml" ContentType="application/vnd.ms-office.chartcolorstyle+xml"/>
  <Override PartName="/ppt/charts/colors641.xml" ContentType="application/vnd.ms-office.chartcolorstyle+xml"/>
  <Override PartName="/ppt/charts/colors642.xml" ContentType="application/vnd.ms-office.chartcolorstyle+xml"/>
  <Override PartName="/ppt/charts/colors643.xml" ContentType="application/vnd.ms-office.chartcolorstyle+xml"/>
  <Override PartName="/ppt/charts/colors644.xml" ContentType="application/vnd.ms-office.chartcolorstyle+xml"/>
  <Override PartName="/ppt/charts/colors645.xml" ContentType="application/vnd.ms-office.chartcolorstyle+xml"/>
  <Override PartName="/ppt/charts/colors646.xml" ContentType="application/vnd.ms-office.chartcolorstyle+xml"/>
  <Override PartName="/ppt/charts/colors647.xml" ContentType="application/vnd.ms-office.chartcolorstyle+xml"/>
  <Override PartName="/ppt/charts/colors648.xml" ContentType="application/vnd.ms-office.chartcolorstyle+xml"/>
  <Override PartName="/ppt/charts/colors649.xml" ContentType="application/vnd.ms-office.chartcolorstyle+xml"/>
  <Override PartName="/ppt/charts/colors65.xml" ContentType="application/vnd.ms-office.chartcolorstyle+xml"/>
  <Override PartName="/ppt/charts/colors650.xml" ContentType="application/vnd.ms-office.chartcolorstyle+xml"/>
  <Override PartName="/ppt/charts/colors651.xml" ContentType="application/vnd.ms-office.chartcolorstyle+xml"/>
  <Override PartName="/ppt/charts/colors652.xml" ContentType="application/vnd.ms-office.chartcolorstyle+xml"/>
  <Override PartName="/ppt/charts/colors653.xml" ContentType="application/vnd.ms-office.chartcolorstyle+xml"/>
  <Override PartName="/ppt/charts/colors654.xml" ContentType="application/vnd.ms-office.chartcolorstyle+xml"/>
  <Override PartName="/ppt/charts/colors655.xml" ContentType="application/vnd.ms-office.chartcolorstyle+xml"/>
  <Override PartName="/ppt/charts/colors656.xml" ContentType="application/vnd.ms-office.chartcolorstyle+xml"/>
  <Override PartName="/ppt/charts/colors657.xml" ContentType="application/vnd.ms-office.chartcolorstyle+xml"/>
  <Override PartName="/ppt/charts/colors658.xml" ContentType="application/vnd.ms-office.chartcolorstyle+xml"/>
  <Override PartName="/ppt/charts/colors659.xml" ContentType="application/vnd.ms-office.chartcolorstyle+xml"/>
  <Override PartName="/ppt/charts/colors66.xml" ContentType="application/vnd.ms-office.chartcolorstyle+xml"/>
  <Override PartName="/ppt/charts/colors660.xml" ContentType="application/vnd.ms-office.chartcolorstyle+xml"/>
  <Override PartName="/ppt/charts/colors661.xml" ContentType="application/vnd.ms-office.chartcolorstyle+xml"/>
  <Override PartName="/ppt/charts/colors662.xml" ContentType="application/vnd.ms-office.chartcolorstyle+xml"/>
  <Override PartName="/ppt/charts/colors663.xml" ContentType="application/vnd.ms-office.chartcolorstyle+xml"/>
  <Override PartName="/ppt/charts/colors664.xml" ContentType="application/vnd.ms-office.chartcolorstyle+xml"/>
  <Override PartName="/ppt/charts/colors665.xml" ContentType="application/vnd.ms-office.chartcolorstyle+xml"/>
  <Override PartName="/ppt/charts/colors666.xml" ContentType="application/vnd.ms-office.chartcolorstyle+xml"/>
  <Override PartName="/ppt/charts/colors667.xml" ContentType="application/vnd.ms-office.chartcolorstyle+xml"/>
  <Override PartName="/ppt/charts/colors668.xml" ContentType="application/vnd.ms-office.chartcolorstyle+xml"/>
  <Override PartName="/ppt/charts/colors669.xml" ContentType="application/vnd.ms-office.chartcolorstyle+xml"/>
  <Override PartName="/ppt/charts/colors67.xml" ContentType="application/vnd.ms-office.chartcolorstyle+xml"/>
  <Override PartName="/ppt/charts/colors670.xml" ContentType="application/vnd.ms-office.chartcolorstyle+xml"/>
  <Override PartName="/ppt/charts/colors671.xml" ContentType="application/vnd.ms-office.chartcolorstyle+xml"/>
  <Override PartName="/ppt/charts/colors672.xml" ContentType="application/vnd.ms-office.chartcolorstyle+xml"/>
  <Override PartName="/ppt/charts/colors673.xml" ContentType="application/vnd.ms-office.chartcolorstyle+xml"/>
  <Override PartName="/ppt/charts/colors674.xml" ContentType="application/vnd.ms-office.chartcolorstyle+xml"/>
  <Override PartName="/ppt/charts/colors675.xml" ContentType="application/vnd.ms-office.chartcolorstyle+xml"/>
  <Override PartName="/ppt/charts/colors676.xml" ContentType="application/vnd.ms-office.chartcolorstyle+xml"/>
  <Override PartName="/ppt/charts/colors677.xml" ContentType="application/vnd.ms-office.chartcolorstyle+xml"/>
  <Override PartName="/ppt/charts/colors678.xml" ContentType="application/vnd.ms-office.chartcolorstyle+xml"/>
  <Override PartName="/ppt/charts/colors679.xml" ContentType="application/vnd.ms-office.chartcolorstyle+xml"/>
  <Override PartName="/ppt/charts/colors68.xml" ContentType="application/vnd.ms-office.chartcolorstyle+xml"/>
  <Override PartName="/ppt/charts/colors680.xml" ContentType="application/vnd.ms-office.chartcolorstyle+xml"/>
  <Override PartName="/ppt/charts/colors681.xml" ContentType="application/vnd.ms-office.chartcolorstyle+xml"/>
  <Override PartName="/ppt/charts/colors682.xml" ContentType="application/vnd.ms-office.chartcolorstyle+xml"/>
  <Override PartName="/ppt/charts/colors683.xml" ContentType="application/vnd.ms-office.chartcolorstyle+xml"/>
  <Override PartName="/ppt/charts/colors684.xml" ContentType="application/vnd.ms-office.chartcolorstyle+xml"/>
  <Override PartName="/ppt/charts/colors685.xml" ContentType="application/vnd.ms-office.chartcolorstyle+xml"/>
  <Override PartName="/ppt/charts/colors686.xml" ContentType="application/vnd.ms-office.chartcolorstyle+xml"/>
  <Override PartName="/ppt/charts/colors687.xml" ContentType="application/vnd.ms-office.chartcolorstyle+xml"/>
  <Override PartName="/ppt/charts/colors688.xml" ContentType="application/vnd.ms-office.chartcolorstyle+xml"/>
  <Override PartName="/ppt/charts/colors689.xml" ContentType="application/vnd.ms-office.chartcolorstyle+xml"/>
  <Override PartName="/ppt/charts/colors69.xml" ContentType="application/vnd.ms-office.chartcolorstyle+xml"/>
  <Override PartName="/ppt/charts/colors690.xml" ContentType="application/vnd.ms-office.chartcolorstyle+xml"/>
  <Override PartName="/ppt/charts/colors691.xml" ContentType="application/vnd.ms-office.chartcolorstyle+xml"/>
  <Override PartName="/ppt/charts/colors692.xml" ContentType="application/vnd.ms-office.chartcolorstyle+xml"/>
  <Override PartName="/ppt/charts/colors693.xml" ContentType="application/vnd.ms-office.chartcolorstyle+xml"/>
  <Override PartName="/ppt/charts/colors694.xml" ContentType="application/vnd.ms-office.chartcolorstyle+xml"/>
  <Override PartName="/ppt/charts/colors695.xml" ContentType="application/vnd.ms-office.chartcolorstyle+xml"/>
  <Override PartName="/ppt/charts/colors696.xml" ContentType="application/vnd.ms-office.chartcolorstyle+xml"/>
  <Override PartName="/ppt/charts/colors697.xml" ContentType="application/vnd.ms-office.chartcolorstyle+xml"/>
  <Override PartName="/ppt/charts/colors698.xml" ContentType="application/vnd.ms-office.chartcolorstyle+xml"/>
  <Override PartName="/ppt/charts/colors69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29.xml" ContentType="application/vnd.ms-office.chartstyle+xml"/>
  <Override PartName="/ppt/charts/style33.xml" ContentType="application/vnd.ms-office.chartstyle+xml"/>
  <Override PartName="/ppt/charts/style330.xml" ContentType="application/vnd.ms-office.chartstyle+xml"/>
  <Override PartName="/ppt/charts/style331.xml" ContentType="application/vnd.ms-office.chartstyle+xml"/>
  <Override PartName="/ppt/charts/style332.xml" ContentType="application/vnd.ms-office.chartstyle+xml"/>
  <Override PartName="/ppt/charts/style333.xml" ContentType="application/vnd.ms-office.chartstyle+xml"/>
  <Override PartName="/ppt/charts/style334.xml" ContentType="application/vnd.ms-office.chartstyle+xml"/>
  <Override PartName="/ppt/charts/style335.xml" ContentType="application/vnd.ms-office.chartstyle+xml"/>
  <Override PartName="/ppt/charts/style336.xml" ContentType="application/vnd.ms-office.chartstyle+xml"/>
  <Override PartName="/ppt/charts/style337.xml" ContentType="application/vnd.ms-office.chartstyle+xml"/>
  <Override PartName="/ppt/charts/style338.xml" ContentType="application/vnd.ms-office.chartstyle+xml"/>
  <Override PartName="/ppt/charts/style339.xml" ContentType="application/vnd.ms-office.chartstyle+xml"/>
  <Override PartName="/ppt/charts/style34.xml" ContentType="application/vnd.ms-office.chartstyle+xml"/>
  <Override PartName="/ppt/charts/style340.xml" ContentType="application/vnd.ms-office.chartstyle+xml"/>
  <Override PartName="/ppt/charts/style341.xml" ContentType="application/vnd.ms-office.chartstyle+xml"/>
  <Override PartName="/ppt/charts/style342.xml" ContentType="application/vnd.ms-office.chartstyle+xml"/>
  <Override PartName="/ppt/charts/style343.xml" ContentType="application/vnd.ms-office.chartstyle+xml"/>
  <Override PartName="/ppt/charts/style344.xml" ContentType="application/vnd.ms-office.chartstyle+xml"/>
  <Override PartName="/ppt/charts/style345.xml" ContentType="application/vnd.ms-office.chartstyle+xml"/>
  <Override PartName="/ppt/charts/style346.xml" ContentType="application/vnd.ms-office.chartstyle+xml"/>
  <Override PartName="/ppt/charts/style347.xml" ContentType="application/vnd.ms-office.chartstyle+xml"/>
  <Override PartName="/ppt/charts/style348.xml" ContentType="application/vnd.ms-office.chartstyle+xml"/>
  <Override PartName="/ppt/charts/style349.xml" ContentType="application/vnd.ms-office.chartstyle+xml"/>
  <Override PartName="/ppt/charts/style35.xml" ContentType="application/vnd.ms-office.chartstyle+xml"/>
  <Override PartName="/ppt/charts/style350.xml" ContentType="application/vnd.ms-office.chartstyle+xml"/>
  <Override PartName="/ppt/charts/style351.xml" ContentType="application/vnd.ms-office.chartstyle+xml"/>
  <Override PartName="/ppt/charts/style352.xml" ContentType="application/vnd.ms-office.chartstyle+xml"/>
  <Override PartName="/ppt/charts/style353.xml" ContentType="application/vnd.ms-office.chartstyle+xml"/>
  <Override PartName="/ppt/charts/style354.xml" ContentType="application/vnd.ms-office.chartstyle+xml"/>
  <Override PartName="/ppt/charts/style355.xml" ContentType="application/vnd.ms-office.chartstyle+xml"/>
  <Override PartName="/ppt/charts/style356.xml" ContentType="application/vnd.ms-office.chartstyle+xml"/>
  <Override PartName="/ppt/charts/style357.xml" ContentType="application/vnd.ms-office.chartstyle+xml"/>
  <Override PartName="/ppt/charts/style358.xml" ContentType="application/vnd.ms-office.chartstyle+xml"/>
  <Override PartName="/ppt/charts/style359.xml" ContentType="application/vnd.ms-office.chartstyle+xml"/>
  <Override PartName="/ppt/charts/style36.xml" ContentType="application/vnd.ms-office.chartstyle+xml"/>
  <Override PartName="/ppt/charts/style360.xml" ContentType="application/vnd.ms-office.chartstyle+xml"/>
  <Override PartName="/ppt/charts/style361.xml" ContentType="application/vnd.ms-office.chartstyle+xml"/>
  <Override PartName="/ppt/charts/style362.xml" ContentType="application/vnd.ms-office.chartstyle+xml"/>
  <Override PartName="/ppt/charts/style363.xml" ContentType="application/vnd.ms-office.chartstyle+xml"/>
  <Override PartName="/ppt/charts/style364.xml" ContentType="application/vnd.ms-office.chartstyle+xml"/>
  <Override PartName="/ppt/charts/style365.xml" ContentType="application/vnd.ms-office.chartstyle+xml"/>
  <Override PartName="/ppt/charts/style366.xml" ContentType="application/vnd.ms-office.chartstyle+xml"/>
  <Override PartName="/ppt/charts/style367.xml" ContentType="application/vnd.ms-office.chartstyle+xml"/>
  <Override PartName="/ppt/charts/style368.xml" ContentType="application/vnd.ms-office.chartstyle+xml"/>
  <Override PartName="/ppt/charts/style369.xml" ContentType="application/vnd.ms-office.chartstyle+xml"/>
  <Override PartName="/ppt/charts/style37.xml" ContentType="application/vnd.ms-office.chartstyle+xml"/>
  <Override PartName="/ppt/charts/style370.xml" ContentType="application/vnd.ms-office.chartstyle+xml"/>
  <Override PartName="/ppt/charts/style371.xml" ContentType="application/vnd.ms-office.chartstyle+xml"/>
  <Override PartName="/ppt/charts/style372.xml" ContentType="application/vnd.ms-office.chartstyle+xml"/>
  <Override PartName="/ppt/charts/style373.xml" ContentType="application/vnd.ms-office.chartstyle+xml"/>
  <Override PartName="/ppt/charts/style374.xml" ContentType="application/vnd.ms-office.chartstyle+xml"/>
  <Override PartName="/ppt/charts/style375.xml" ContentType="application/vnd.ms-office.chartstyle+xml"/>
  <Override PartName="/ppt/charts/style376.xml" ContentType="application/vnd.ms-office.chartstyle+xml"/>
  <Override PartName="/ppt/charts/style377.xml" ContentType="application/vnd.ms-office.chartstyle+xml"/>
  <Override PartName="/ppt/charts/style378.xml" ContentType="application/vnd.ms-office.chartstyle+xml"/>
  <Override PartName="/ppt/charts/style379.xml" ContentType="application/vnd.ms-office.chartstyle+xml"/>
  <Override PartName="/ppt/charts/style38.xml" ContentType="application/vnd.ms-office.chartstyle+xml"/>
  <Override PartName="/ppt/charts/style380.xml" ContentType="application/vnd.ms-office.chartstyle+xml"/>
  <Override PartName="/ppt/charts/style381.xml" ContentType="application/vnd.ms-office.chartstyle+xml"/>
  <Override PartName="/ppt/charts/style382.xml" ContentType="application/vnd.ms-office.chartstyle+xml"/>
  <Override PartName="/ppt/charts/style383.xml" ContentType="application/vnd.ms-office.chartstyle+xml"/>
  <Override PartName="/ppt/charts/style384.xml" ContentType="application/vnd.ms-office.chartstyle+xml"/>
  <Override PartName="/ppt/charts/style385.xml" ContentType="application/vnd.ms-office.chartstyle+xml"/>
  <Override PartName="/ppt/charts/style386.xml" ContentType="application/vnd.ms-office.chartstyle+xml"/>
  <Override PartName="/ppt/charts/style387.xml" ContentType="application/vnd.ms-office.chartstyle+xml"/>
  <Override PartName="/ppt/charts/style388.xml" ContentType="application/vnd.ms-office.chartstyle+xml"/>
  <Override PartName="/ppt/charts/style389.xml" ContentType="application/vnd.ms-office.chartstyle+xml"/>
  <Override PartName="/ppt/charts/style39.xml" ContentType="application/vnd.ms-office.chartstyle+xml"/>
  <Override PartName="/ppt/charts/style390.xml" ContentType="application/vnd.ms-office.chartstyle+xml"/>
  <Override PartName="/ppt/charts/style391.xml" ContentType="application/vnd.ms-office.chartstyle+xml"/>
  <Override PartName="/ppt/charts/style392.xml" ContentType="application/vnd.ms-office.chartstyle+xml"/>
  <Override PartName="/ppt/charts/style393.xml" ContentType="application/vnd.ms-office.chartstyle+xml"/>
  <Override PartName="/ppt/charts/style394.xml" ContentType="application/vnd.ms-office.chartstyle+xml"/>
  <Override PartName="/ppt/charts/style395.xml" ContentType="application/vnd.ms-office.chartstyle+xml"/>
  <Override PartName="/ppt/charts/style396.xml" ContentType="application/vnd.ms-office.chartstyle+xml"/>
  <Override PartName="/ppt/charts/style397.xml" ContentType="application/vnd.ms-office.chartstyle+xml"/>
  <Override PartName="/ppt/charts/style398.xml" ContentType="application/vnd.ms-office.chartstyle+xml"/>
  <Override PartName="/ppt/charts/style399.xml" ContentType="application/vnd.ms-office.chartstyle+xml"/>
  <Override PartName="/ppt/charts/style4.xml" ContentType="application/vnd.ms-office.chartstyle+xml"/>
  <Override PartName="/ppt/charts/style40.xml" ContentType="application/vnd.ms-office.chartstyle+xml"/>
  <Override PartName="/ppt/charts/style400.xml" ContentType="application/vnd.ms-office.chartstyle+xml"/>
  <Override PartName="/ppt/charts/style401.xml" ContentType="application/vnd.ms-office.chartstyle+xml"/>
  <Override PartName="/ppt/charts/style402.xml" ContentType="application/vnd.ms-office.chartstyle+xml"/>
  <Override PartName="/ppt/charts/style403.xml" ContentType="application/vnd.ms-office.chartstyle+xml"/>
  <Override PartName="/ppt/charts/style404.xml" ContentType="application/vnd.ms-office.chartstyle+xml"/>
  <Override PartName="/ppt/charts/style405.xml" ContentType="application/vnd.ms-office.chartstyle+xml"/>
  <Override PartName="/ppt/charts/style406.xml" ContentType="application/vnd.ms-office.chartstyle+xml"/>
  <Override PartName="/ppt/charts/style407.xml" ContentType="application/vnd.ms-office.chartstyle+xml"/>
  <Override PartName="/ppt/charts/style408.xml" ContentType="application/vnd.ms-office.chartstyle+xml"/>
  <Override PartName="/ppt/charts/style409.xml" ContentType="application/vnd.ms-office.chartstyle+xml"/>
  <Override PartName="/ppt/charts/style41.xml" ContentType="application/vnd.ms-office.chartstyle+xml"/>
  <Override PartName="/ppt/charts/style410.xml" ContentType="application/vnd.ms-office.chartstyle+xml"/>
  <Override PartName="/ppt/charts/style411.xml" ContentType="application/vnd.ms-office.chartstyle+xml"/>
  <Override PartName="/ppt/charts/style412.xml" ContentType="application/vnd.ms-office.chartstyle+xml"/>
  <Override PartName="/ppt/charts/style413.xml" ContentType="application/vnd.ms-office.chartstyle+xml"/>
  <Override PartName="/ppt/charts/style414.xml" ContentType="application/vnd.ms-office.chartstyle+xml"/>
  <Override PartName="/ppt/charts/style415.xml" ContentType="application/vnd.ms-office.chartstyle+xml"/>
  <Override PartName="/ppt/charts/style416.xml" ContentType="application/vnd.ms-office.chartstyle+xml"/>
  <Override PartName="/ppt/charts/style417.xml" ContentType="application/vnd.ms-office.chartstyle+xml"/>
  <Override PartName="/ppt/charts/style418.xml" ContentType="application/vnd.ms-office.chartstyle+xml"/>
  <Override PartName="/ppt/charts/style419.xml" ContentType="application/vnd.ms-office.chartstyle+xml"/>
  <Override PartName="/ppt/charts/style42.xml" ContentType="application/vnd.ms-office.chartstyle+xml"/>
  <Override PartName="/ppt/charts/style420.xml" ContentType="application/vnd.ms-office.chartstyle+xml"/>
  <Override PartName="/ppt/charts/style421.xml" ContentType="application/vnd.ms-office.chartstyle+xml"/>
  <Override PartName="/ppt/charts/style422.xml" ContentType="application/vnd.ms-office.chartstyle+xml"/>
  <Override PartName="/ppt/charts/style423.xml" ContentType="application/vnd.ms-office.chartstyle+xml"/>
  <Override PartName="/ppt/charts/style424.xml" ContentType="application/vnd.ms-office.chartstyle+xml"/>
  <Override PartName="/ppt/charts/style425.xml" ContentType="application/vnd.ms-office.chartstyle+xml"/>
  <Override PartName="/ppt/charts/style426.xml" ContentType="application/vnd.ms-office.chartstyle+xml"/>
  <Override PartName="/ppt/charts/style427.xml" ContentType="application/vnd.ms-office.chartstyle+xml"/>
  <Override PartName="/ppt/charts/style428.xml" ContentType="application/vnd.ms-office.chartstyle+xml"/>
  <Override PartName="/ppt/charts/style429.xml" ContentType="application/vnd.ms-office.chartstyle+xml"/>
  <Override PartName="/ppt/charts/style43.xml" ContentType="application/vnd.ms-office.chartstyle+xml"/>
  <Override PartName="/ppt/charts/style430.xml" ContentType="application/vnd.ms-office.chartstyle+xml"/>
  <Override PartName="/ppt/charts/style431.xml" ContentType="application/vnd.ms-office.chartstyle+xml"/>
  <Override PartName="/ppt/charts/style432.xml" ContentType="application/vnd.ms-office.chartstyle+xml"/>
  <Override PartName="/ppt/charts/style433.xml" ContentType="application/vnd.ms-office.chartstyle+xml"/>
  <Override PartName="/ppt/charts/style434.xml" ContentType="application/vnd.ms-office.chartstyle+xml"/>
  <Override PartName="/ppt/charts/style435.xml" ContentType="application/vnd.ms-office.chartstyle+xml"/>
  <Override PartName="/ppt/charts/style436.xml" ContentType="application/vnd.ms-office.chartstyle+xml"/>
  <Override PartName="/ppt/charts/style437.xml" ContentType="application/vnd.ms-office.chartstyle+xml"/>
  <Override PartName="/ppt/charts/style438.xml" ContentType="application/vnd.ms-office.chartstyle+xml"/>
  <Override PartName="/ppt/charts/style439.xml" ContentType="application/vnd.ms-office.chartstyle+xml"/>
  <Override PartName="/ppt/charts/style44.xml" ContentType="application/vnd.ms-office.chartstyle+xml"/>
  <Override PartName="/ppt/charts/style440.xml" ContentType="application/vnd.ms-office.chartstyle+xml"/>
  <Override PartName="/ppt/charts/style441.xml" ContentType="application/vnd.ms-office.chartstyle+xml"/>
  <Override PartName="/ppt/charts/style442.xml" ContentType="application/vnd.ms-office.chartstyle+xml"/>
  <Override PartName="/ppt/charts/style443.xml" ContentType="application/vnd.ms-office.chartstyle+xml"/>
  <Override PartName="/ppt/charts/style444.xml" ContentType="application/vnd.ms-office.chartstyle+xml"/>
  <Override PartName="/ppt/charts/style445.xml" ContentType="application/vnd.ms-office.chartstyle+xml"/>
  <Override PartName="/ppt/charts/style446.xml" ContentType="application/vnd.ms-office.chartstyle+xml"/>
  <Override PartName="/ppt/charts/style447.xml" ContentType="application/vnd.ms-office.chartstyle+xml"/>
  <Override PartName="/ppt/charts/style448.xml" ContentType="application/vnd.ms-office.chartstyle+xml"/>
  <Override PartName="/ppt/charts/style449.xml" ContentType="application/vnd.ms-office.chartstyle+xml"/>
  <Override PartName="/ppt/charts/style45.xml" ContentType="application/vnd.ms-office.chartstyle+xml"/>
  <Override PartName="/ppt/charts/style450.xml" ContentType="application/vnd.ms-office.chartstyle+xml"/>
  <Override PartName="/ppt/charts/style451.xml" ContentType="application/vnd.ms-office.chartstyle+xml"/>
  <Override PartName="/ppt/charts/style452.xml" ContentType="application/vnd.ms-office.chartstyle+xml"/>
  <Override PartName="/ppt/charts/style453.xml" ContentType="application/vnd.ms-office.chartstyle+xml"/>
  <Override PartName="/ppt/charts/style454.xml" ContentType="application/vnd.ms-office.chartstyle+xml"/>
  <Override PartName="/ppt/charts/style455.xml" ContentType="application/vnd.ms-office.chartstyle+xml"/>
  <Override PartName="/ppt/charts/style456.xml" ContentType="application/vnd.ms-office.chartstyle+xml"/>
  <Override PartName="/ppt/charts/style457.xml" ContentType="application/vnd.ms-office.chartstyle+xml"/>
  <Override PartName="/ppt/charts/style458.xml" ContentType="application/vnd.ms-office.chartstyle+xml"/>
  <Override PartName="/ppt/charts/style459.xml" ContentType="application/vnd.ms-office.chartstyle+xml"/>
  <Override PartName="/ppt/charts/style46.xml" ContentType="application/vnd.ms-office.chartstyle+xml"/>
  <Override PartName="/ppt/charts/style460.xml" ContentType="application/vnd.ms-office.chartstyle+xml"/>
  <Override PartName="/ppt/charts/style461.xml" ContentType="application/vnd.ms-office.chartstyle+xml"/>
  <Override PartName="/ppt/charts/style462.xml" ContentType="application/vnd.ms-office.chartstyle+xml"/>
  <Override PartName="/ppt/charts/style463.xml" ContentType="application/vnd.ms-office.chartstyle+xml"/>
  <Override PartName="/ppt/charts/style464.xml" ContentType="application/vnd.ms-office.chartstyle+xml"/>
  <Override PartName="/ppt/charts/style465.xml" ContentType="application/vnd.ms-office.chartstyle+xml"/>
  <Override PartName="/ppt/charts/style466.xml" ContentType="application/vnd.ms-office.chartstyle+xml"/>
  <Override PartName="/ppt/charts/style467.xml" ContentType="application/vnd.ms-office.chartstyle+xml"/>
  <Override PartName="/ppt/charts/style468.xml" ContentType="application/vnd.ms-office.chartstyle+xml"/>
  <Override PartName="/ppt/charts/style469.xml" ContentType="application/vnd.ms-office.chartstyle+xml"/>
  <Override PartName="/ppt/charts/style47.xml" ContentType="application/vnd.ms-office.chartstyle+xml"/>
  <Override PartName="/ppt/charts/style470.xml" ContentType="application/vnd.ms-office.chartstyle+xml"/>
  <Override PartName="/ppt/charts/style471.xml" ContentType="application/vnd.ms-office.chartstyle+xml"/>
  <Override PartName="/ppt/charts/style472.xml" ContentType="application/vnd.ms-office.chartstyle+xml"/>
  <Override PartName="/ppt/charts/style473.xml" ContentType="application/vnd.ms-office.chartstyle+xml"/>
  <Override PartName="/ppt/charts/style474.xml" ContentType="application/vnd.ms-office.chartstyle+xml"/>
  <Override PartName="/ppt/charts/style475.xml" ContentType="application/vnd.ms-office.chartstyle+xml"/>
  <Override PartName="/ppt/charts/style476.xml" ContentType="application/vnd.ms-office.chartstyle+xml"/>
  <Override PartName="/ppt/charts/style477.xml" ContentType="application/vnd.ms-office.chartstyle+xml"/>
  <Override PartName="/ppt/charts/style478.xml" ContentType="application/vnd.ms-office.chartstyle+xml"/>
  <Override PartName="/ppt/charts/style479.xml" ContentType="application/vnd.ms-office.chartstyle+xml"/>
  <Override PartName="/ppt/charts/style48.xml" ContentType="application/vnd.ms-office.chartstyle+xml"/>
  <Override PartName="/ppt/charts/style480.xml" ContentType="application/vnd.ms-office.chartstyle+xml"/>
  <Override PartName="/ppt/charts/style481.xml" ContentType="application/vnd.ms-office.chartstyle+xml"/>
  <Override PartName="/ppt/charts/style482.xml" ContentType="application/vnd.ms-office.chartstyle+xml"/>
  <Override PartName="/ppt/charts/style483.xml" ContentType="application/vnd.ms-office.chartstyle+xml"/>
  <Override PartName="/ppt/charts/style484.xml" ContentType="application/vnd.ms-office.chartstyle+xml"/>
  <Override PartName="/ppt/charts/style485.xml" ContentType="application/vnd.ms-office.chartstyle+xml"/>
  <Override PartName="/ppt/charts/style486.xml" ContentType="application/vnd.ms-office.chartstyle+xml"/>
  <Override PartName="/ppt/charts/style487.xml" ContentType="application/vnd.ms-office.chartstyle+xml"/>
  <Override PartName="/ppt/charts/style488.xml" ContentType="application/vnd.ms-office.chartstyle+xml"/>
  <Override PartName="/ppt/charts/style489.xml" ContentType="application/vnd.ms-office.chartstyle+xml"/>
  <Override PartName="/ppt/charts/style49.xml" ContentType="application/vnd.ms-office.chartstyle+xml"/>
  <Override PartName="/ppt/charts/style490.xml" ContentType="application/vnd.ms-office.chartstyle+xml"/>
  <Override PartName="/ppt/charts/style491.xml" ContentType="application/vnd.ms-office.chartstyle+xml"/>
  <Override PartName="/ppt/charts/style492.xml" ContentType="application/vnd.ms-office.chartstyle+xml"/>
  <Override PartName="/ppt/charts/style493.xml" ContentType="application/vnd.ms-office.chartstyle+xml"/>
  <Override PartName="/ppt/charts/style494.xml" ContentType="application/vnd.ms-office.chartstyle+xml"/>
  <Override PartName="/ppt/charts/style495.xml" ContentType="application/vnd.ms-office.chartstyle+xml"/>
  <Override PartName="/ppt/charts/style496.xml" ContentType="application/vnd.ms-office.chartstyle+xml"/>
  <Override PartName="/ppt/charts/style497.xml" ContentType="application/vnd.ms-office.chartstyle+xml"/>
  <Override PartName="/ppt/charts/style498.xml" ContentType="application/vnd.ms-office.chartstyle+xml"/>
  <Override PartName="/ppt/charts/style499.xml" ContentType="application/vnd.ms-office.chartstyle+xml"/>
  <Override PartName="/ppt/charts/style5.xml" ContentType="application/vnd.ms-office.chartstyle+xml"/>
  <Override PartName="/ppt/charts/style50.xml" ContentType="application/vnd.ms-office.chartstyle+xml"/>
  <Override PartName="/ppt/charts/style500.xml" ContentType="application/vnd.ms-office.chartstyle+xml"/>
  <Override PartName="/ppt/charts/style501.xml" ContentType="application/vnd.ms-office.chartstyle+xml"/>
  <Override PartName="/ppt/charts/style502.xml" ContentType="application/vnd.ms-office.chartstyle+xml"/>
  <Override PartName="/ppt/charts/style503.xml" ContentType="application/vnd.ms-office.chartstyle+xml"/>
  <Override PartName="/ppt/charts/style504.xml" ContentType="application/vnd.ms-office.chartstyle+xml"/>
  <Override PartName="/ppt/charts/style505.xml" ContentType="application/vnd.ms-office.chartstyle+xml"/>
  <Override PartName="/ppt/charts/style506.xml" ContentType="application/vnd.ms-office.chartstyle+xml"/>
  <Override PartName="/ppt/charts/style507.xml" ContentType="application/vnd.ms-office.chartstyle+xml"/>
  <Override PartName="/ppt/charts/style508.xml" ContentType="application/vnd.ms-office.chartstyle+xml"/>
  <Override PartName="/ppt/charts/style509.xml" ContentType="application/vnd.ms-office.chartstyle+xml"/>
  <Override PartName="/ppt/charts/style51.xml" ContentType="application/vnd.ms-office.chartstyle+xml"/>
  <Override PartName="/ppt/charts/style510.xml" ContentType="application/vnd.ms-office.chartstyle+xml"/>
  <Override PartName="/ppt/charts/style511.xml" ContentType="application/vnd.ms-office.chartstyle+xml"/>
  <Override PartName="/ppt/charts/style512.xml" ContentType="application/vnd.ms-office.chartstyle+xml"/>
  <Override PartName="/ppt/charts/style513.xml" ContentType="application/vnd.ms-office.chartstyle+xml"/>
  <Override PartName="/ppt/charts/style514.xml" ContentType="application/vnd.ms-office.chartstyle+xml"/>
  <Override PartName="/ppt/charts/style515.xml" ContentType="application/vnd.ms-office.chartstyle+xml"/>
  <Override PartName="/ppt/charts/style516.xml" ContentType="application/vnd.ms-office.chartstyle+xml"/>
  <Override PartName="/ppt/charts/style517.xml" ContentType="application/vnd.ms-office.chartstyle+xml"/>
  <Override PartName="/ppt/charts/style518.xml" ContentType="application/vnd.ms-office.chartstyle+xml"/>
  <Override PartName="/ppt/charts/style519.xml" ContentType="application/vnd.ms-office.chartstyle+xml"/>
  <Override PartName="/ppt/charts/style52.xml" ContentType="application/vnd.ms-office.chartstyle+xml"/>
  <Override PartName="/ppt/charts/style520.xml" ContentType="application/vnd.ms-office.chartstyle+xml"/>
  <Override PartName="/ppt/charts/style521.xml" ContentType="application/vnd.ms-office.chartstyle+xml"/>
  <Override PartName="/ppt/charts/style522.xml" ContentType="application/vnd.ms-office.chartstyle+xml"/>
  <Override PartName="/ppt/charts/style523.xml" ContentType="application/vnd.ms-office.chartstyle+xml"/>
  <Override PartName="/ppt/charts/style524.xml" ContentType="application/vnd.ms-office.chartstyle+xml"/>
  <Override PartName="/ppt/charts/style525.xml" ContentType="application/vnd.ms-office.chartstyle+xml"/>
  <Override PartName="/ppt/charts/style526.xml" ContentType="application/vnd.ms-office.chartstyle+xml"/>
  <Override PartName="/ppt/charts/style527.xml" ContentType="application/vnd.ms-office.chartstyle+xml"/>
  <Override PartName="/ppt/charts/style528.xml" ContentType="application/vnd.ms-office.chartstyle+xml"/>
  <Override PartName="/ppt/charts/style529.xml" ContentType="application/vnd.ms-office.chartstyle+xml"/>
  <Override PartName="/ppt/charts/style53.xml" ContentType="application/vnd.ms-office.chartstyle+xml"/>
  <Override PartName="/ppt/charts/style530.xml" ContentType="application/vnd.ms-office.chartstyle+xml"/>
  <Override PartName="/ppt/charts/style531.xml" ContentType="application/vnd.ms-office.chartstyle+xml"/>
  <Override PartName="/ppt/charts/style532.xml" ContentType="application/vnd.ms-office.chartstyle+xml"/>
  <Override PartName="/ppt/charts/style533.xml" ContentType="application/vnd.ms-office.chartstyle+xml"/>
  <Override PartName="/ppt/charts/style534.xml" ContentType="application/vnd.ms-office.chartstyle+xml"/>
  <Override PartName="/ppt/charts/style535.xml" ContentType="application/vnd.ms-office.chartstyle+xml"/>
  <Override PartName="/ppt/charts/style536.xml" ContentType="application/vnd.ms-office.chartstyle+xml"/>
  <Override PartName="/ppt/charts/style537.xml" ContentType="application/vnd.ms-office.chartstyle+xml"/>
  <Override PartName="/ppt/charts/style538.xml" ContentType="application/vnd.ms-office.chartstyle+xml"/>
  <Override PartName="/ppt/charts/style539.xml" ContentType="application/vnd.ms-office.chartstyle+xml"/>
  <Override PartName="/ppt/charts/style54.xml" ContentType="application/vnd.ms-office.chartstyle+xml"/>
  <Override PartName="/ppt/charts/style540.xml" ContentType="application/vnd.ms-office.chartstyle+xml"/>
  <Override PartName="/ppt/charts/style541.xml" ContentType="application/vnd.ms-office.chartstyle+xml"/>
  <Override PartName="/ppt/charts/style542.xml" ContentType="application/vnd.ms-office.chartstyle+xml"/>
  <Override PartName="/ppt/charts/style543.xml" ContentType="application/vnd.ms-office.chartstyle+xml"/>
  <Override PartName="/ppt/charts/style544.xml" ContentType="application/vnd.ms-office.chartstyle+xml"/>
  <Override PartName="/ppt/charts/style545.xml" ContentType="application/vnd.ms-office.chartstyle+xml"/>
  <Override PartName="/ppt/charts/style546.xml" ContentType="application/vnd.ms-office.chartstyle+xml"/>
  <Override PartName="/ppt/charts/style547.xml" ContentType="application/vnd.ms-office.chartstyle+xml"/>
  <Override PartName="/ppt/charts/style548.xml" ContentType="application/vnd.ms-office.chartstyle+xml"/>
  <Override PartName="/ppt/charts/style549.xml" ContentType="application/vnd.ms-office.chartstyle+xml"/>
  <Override PartName="/ppt/charts/style55.xml" ContentType="application/vnd.ms-office.chartstyle+xml"/>
  <Override PartName="/ppt/charts/style550.xml" ContentType="application/vnd.ms-office.chartstyle+xml"/>
  <Override PartName="/ppt/charts/style551.xml" ContentType="application/vnd.ms-office.chartstyle+xml"/>
  <Override PartName="/ppt/charts/style552.xml" ContentType="application/vnd.ms-office.chartstyle+xml"/>
  <Override PartName="/ppt/charts/style553.xml" ContentType="application/vnd.ms-office.chartstyle+xml"/>
  <Override PartName="/ppt/charts/style554.xml" ContentType="application/vnd.ms-office.chartstyle+xml"/>
  <Override PartName="/ppt/charts/style555.xml" ContentType="application/vnd.ms-office.chartstyle+xml"/>
  <Override PartName="/ppt/charts/style556.xml" ContentType="application/vnd.ms-office.chartstyle+xml"/>
  <Override PartName="/ppt/charts/style557.xml" ContentType="application/vnd.ms-office.chartstyle+xml"/>
  <Override PartName="/ppt/charts/style558.xml" ContentType="application/vnd.ms-office.chartstyle+xml"/>
  <Override PartName="/ppt/charts/style559.xml" ContentType="application/vnd.ms-office.chartstyle+xml"/>
  <Override PartName="/ppt/charts/style56.xml" ContentType="application/vnd.ms-office.chartstyle+xml"/>
  <Override PartName="/ppt/charts/style560.xml" ContentType="application/vnd.ms-office.chartstyle+xml"/>
  <Override PartName="/ppt/charts/style561.xml" ContentType="application/vnd.ms-office.chartstyle+xml"/>
  <Override PartName="/ppt/charts/style562.xml" ContentType="application/vnd.ms-office.chartstyle+xml"/>
  <Override PartName="/ppt/charts/style563.xml" ContentType="application/vnd.ms-office.chartstyle+xml"/>
  <Override PartName="/ppt/charts/style564.xml" ContentType="application/vnd.ms-office.chartstyle+xml"/>
  <Override PartName="/ppt/charts/style565.xml" ContentType="application/vnd.ms-office.chartstyle+xml"/>
  <Override PartName="/ppt/charts/style566.xml" ContentType="application/vnd.ms-office.chartstyle+xml"/>
  <Override PartName="/ppt/charts/style567.xml" ContentType="application/vnd.ms-office.chartstyle+xml"/>
  <Override PartName="/ppt/charts/style568.xml" ContentType="application/vnd.ms-office.chartstyle+xml"/>
  <Override PartName="/ppt/charts/style569.xml" ContentType="application/vnd.ms-office.chartstyle+xml"/>
  <Override PartName="/ppt/charts/style57.xml" ContentType="application/vnd.ms-office.chartstyle+xml"/>
  <Override PartName="/ppt/charts/style570.xml" ContentType="application/vnd.ms-office.chartstyle+xml"/>
  <Override PartName="/ppt/charts/style571.xml" ContentType="application/vnd.ms-office.chartstyle+xml"/>
  <Override PartName="/ppt/charts/style572.xml" ContentType="application/vnd.ms-office.chartstyle+xml"/>
  <Override PartName="/ppt/charts/style573.xml" ContentType="application/vnd.ms-office.chartstyle+xml"/>
  <Override PartName="/ppt/charts/style574.xml" ContentType="application/vnd.ms-office.chartstyle+xml"/>
  <Override PartName="/ppt/charts/style575.xml" ContentType="application/vnd.ms-office.chartstyle+xml"/>
  <Override PartName="/ppt/charts/style576.xml" ContentType="application/vnd.ms-office.chartstyle+xml"/>
  <Override PartName="/ppt/charts/style577.xml" ContentType="application/vnd.ms-office.chartstyle+xml"/>
  <Override PartName="/ppt/charts/style578.xml" ContentType="application/vnd.ms-office.chartstyle+xml"/>
  <Override PartName="/ppt/charts/style579.xml" ContentType="application/vnd.ms-office.chartstyle+xml"/>
  <Override PartName="/ppt/charts/style58.xml" ContentType="application/vnd.ms-office.chartstyle+xml"/>
  <Override PartName="/ppt/charts/style580.xml" ContentType="application/vnd.ms-office.chartstyle+xml"/>
  <Override PartName="/ppt/charts/style581.xml" ContentType="application/vnd.ms-office.chartstyle+xml"/>
  <Override PartName="/ppt/charts/style582.xml" ContentType="application/vnd.ms-office.chartstyle+xml"/>
  <Override PartName="/ppt/charts/style583.xml" ContentType="application/vnd.ms-office.chartstyle+xml"/>
  <Override PartName="/ppt/charts/style584.xml" ContentType="application/vnd.ms-office.chartstyle+xml"/>
  <Override PartName="/ppt/charts/style585.xml" ContentType="application/vnd.ms-office.chartstyle+xml"/>
  <Override PartName="/ppt/charts/style586.xml" ContentType="application/vnd.ms-office.chartstyle+xml"/>
  <Override PartName="/ppt/charts/style587.xml" ContentType="application/vnd.ms-office.chartstyle+xml"/>
  <Override PartName="/ppt/charts/style588.xml" ContentType="application/vnd.ms-office.chartstyle+xml"/>
  <Override PartName="/ppt/charts/style589.xml" ContentType="application/vnd.ms-office.chartstyle+xml"/>
  <Override PartName="/ppt/charts/style59.xml" ContentType="application/vnd.ms-office.chartstyle+xml"/>
  <Override PartName="/ppt/charts/style590.xml" ContentType="application/vnd.ms-office.chartstyle+xml"/>
  <Override PartName="/ppt/charts/style591.xml" ContentType="application/vnd.ms-office.chartstyle+xml"/>
  <Override PartName="/ppt/charts/style592.xml" ContentType="application/vnd.ms-office.chartstyle+xml"/>
  <Override PartName="/ppt/charts/style593.xml" ContentType="application/vnd.ms-office.chartstyle+xml"/>
  <Override PartName="/ppt/charts/style594.xml" ContentType="application/vnd.ms-office.chartstyle+xml"/>
  <Override PartName="/ppt/charts/style595.xml" ContentType="application/vnd.ms-office.chartstyle+xml"/>
  <Override PartName="/ppt/charts/style596.xml" ContentType="application/vnd.ms-office.chartstyle+xml"/>
  <Override PartName="/ppt/charts/style597.xml" ContentType="application/vnd.ms-office.chartstyle+xml"/>
  <Override PartName="/ppt/charts/style598.xml" ContentType="application/vnd.ms-office.chartstyle+xml"/>
  <Override PartName="/ppt/charts/style599.xml" ContentType="application/vnd.ms-office.chartstyle+xml"/>
  <Override PartName="/ppt/charts/style6.xml" ContentType="application/vnd.ms-office.chartstyle+xml"/>
  <Override PartName="/ppt/charts/style60.xml" ContentType="application/vnd.ms-office.chartstyle+xml"/>
  <Override PartName="/ppt/charts/style600.xml" ContentType="application/vnd.ms-office.chartstyle+xml"/>
  <Override PartName="/ppt/charts/style601.xml" ContentType="application/vnd.ms-office.chartstyle+xml"/>
  <Override PartName="/ppt/charts/style602.xml" ContentType="application/vnd.ms-office.chartstyle+xml"/>
  <Override PartName="/ppt/charts/style603.xml" ContentType="application/vnd.ms-office.chartstyle+xml"/>
  <Override PartName="/ppt/charts/style604.xml" ContentType="application/vnd.ms-office.chartstyle+xml"/>
  <Override PartName="/ppt/charts/style605.xml" ContentType="application/vnd.ms-office.chartstyle+xml"/>
  <Override PartName="/ppt/charts/style606.xml" ContentType="application/vnd.ms-office.chartstyle+xml"/>
  <Override PartName="/ppt/charts/style607.xml" ContentType="application/vnd.ms-office.chartstyle+xml"/>
  <Override PartName="/ppt/charts/style608.xml" ContentType="application/vnd.ms-office.chartstyle+xml"/>
  <Override PartName="/ppt/charts/style609.xml" ContentType="application/vnd.ms-office.chartstyle+xml"/>
  <Override PartName="/ppt/charts/style61.xml" ContentType="application/vnd.ms-office.chartstyle+xml"/>
  <Override PartName="/ppt/charts/style610.xml" ContentType="application/vnd.ms-office.chartstyle+xml"/>
  <Override PartName="/ppt/charts/style611.xml" ContentType="application/vnd.ms-office.chartstyle+xml"/>
  <Override PartName="/ppt/charts/style612.xml" ContentType="application/vnd.ms-office.chartstyle+xml"/>
  <Override PartName="/ppt/charts/style613.xml" ContentType="application/vnd.ms-office.chartstyle+xml"/>
  <Override PartName="/ppt/charts/style614.xml" ContentType="application/vnd.ms-office.chartstyle+xml"/>
  <Override PartName="/ppt/charts/style615.xml" ContentType="application/vnd.ms-office.chartstyle+xml"/>
  <Override PartName="/ppt/charts/style616.xml" ContentType="application/vnd.ms-office.chartstyle+xml"/>
  <Override PartName="/ppt/charts/style617.xml" ContentType="application/vnd.ms-office.chartstyle+xml"/>
  <Override PartName="/ppt/charts/style618.xml" ContentType="application/vnd.ms-office.chartstyle+xml"/>
  <Override PartName="/ppt/charts/style619.xml" ContentType="application/vnd.ms-office.chartstyle+xml"/>
  <Override PartName="/ppt/charts/style62.xml" ContentType="application/vnd.ms-office.chartstyle+xml"/>
  <Override PartName="/ppt/charts/style620.xml" ContentType="application/vnd.ms-office.chartstyle+xml"/>
  <Override PartName="/ppt/charts/style621.xml" ContentType="application/vnd.ms-office.chartstyle+xml"/>
  <Override PartName="/ppt/charts/style622.xml" ContentType="application/vnd.ms-office.chartstyle+xml"/>
  <Override PartName="/ppt/charts/style623.xml" ContentType="application/vnd.ms-office.chartstyle+xml"/>
  <Override PartName="/ppt/charts/style624.xml" ContentType="application/vnd.ms-office.chartstyle+xml"/>
  <Override PartName="/ppt/charts/style625.xml" ContentType="application/vnd.ms-office.chartstyle+xml"/>
  <Override PartName="/ppt/charts/style626.xml" ContentType="application/vnd.ms-office.chartstyle+xml"/>
  <Override PartName="/ppt/charts/style627.xml" ContentType="application/vnd.ms-office.chartstyle+xml"/>
  <Override PartName="/ppt/charts/style628.xml" ContentType="application/vnd.ms-office.chartstyle+xml"/>
  <Override PartName="/ppt/charts/style629.xml" ContentType="application/vnd.ms-office.chartstyle+xml"/>
  <Override PartName="/ppt/charts/style63.xml" ContentType="application/vnd.ms-office.chartstyle+xml"/>
  <Override PartName="/ppt/charts/style630.xml" ContentType="application/vnd.ms-office.chartstyle+xml"/>
  <Override PartName="/ppt/charts/style631.xml" ContentType="application/vnd.ms-office.chartstyle+xml"/>
  <Override PartName="/ppt/charts/style632.xml" ContentType="application/vnd.ms-office.chartstyle+xml"/>
  <Override PartName="/ppt/charts/style633.xml" ContentType="application/vnd.ms-office.chartstyle+xml"/>
  <Override PartName="/ppt/charts/style634.xml" ContentType="application/vnd.ms-office.chartstyle+xml"/>
  <Override PartName="/ppt/charts/style635.xml" ContentType="application/vnd.ms-office.chartstyle+xml"/>
  <Override PartName="/ppt/charts/style636.xml" ContentType="application/vnd.ms-office.chartstyle+xml"/>
  <Override PartName="/ppt/charts/style637.xml" ContentType="application/vnd.ms-office.chartstyle+xml"/>
  <Override PartName="/ppt/charts/style638.xml" ContentType="application/vnd.ms-office.chartstyle+xml"/>
  <Override PartName="/ppt/charts/style639.xml" ContentType="application/vnd.ms-office.chartstyle+xml"/>
  <Override PartName="/ppt/charts/style64.xml" ContentType="application/vnd.ms-office.chartstyle+xml"/>
  <Override PartName="/ppt/charts/style640.xml" ContentType="application/vnd.ms-office.chartstyle+xml"/>
  <Override PartName="/ppt/charts/style641.xml" ContentType="application/vnd.ms-office.chartstyle+xml"/>
  <Override PartName="/ppt/charts/style642.xml" ContentType="application/vnd.ms-office.chartstyle+xml"/>
  <Override PartName="/ppt/charts/style643.xml" ContentType="application/vnd.ms-office.chartstyle+xml"/>
  <Override PartName="/ppt/charts/style644.xml" ContentType="application/vnd.ms-office.chartstyle+xml"/>
  <Override PartName="/ppt/charts/style645.xml" ContentType="application/vnd.ms-office.chartstyle+xml"/>
  <Override PartName="/ppt/charts/style646.xml" ContentType="application/vnd.ms-office.chartstyle+xml"/>
  <Override PartName="/ppt/charts/style647.xml" ContentType="application/vnd.ms-office.chartstyle+xml"/>
  <Override PartName="/ppt/charts/style648.xml" ContentType="application/vnd.ms-office.chartstyle+xml"/>
  <Override PartName="/ppt/charts/style649.xml" ContentType="application/vnd.ms-office.chartstyle+xml"/>
  <Override PartName="/ppt/charts/style65.xml" ContentType="application/vnd.ms-office.chartstyle+xml"/>
  <Override PartName="/ppt/charts/style650.xml" ContentType="application/vnd.ms-office.chartstyle+xml"/>
  <Override PartName="/ppt/charts/style651.xml" ContentType="application/vnd.ms-office.chartstyle+xml"/>
  <Override PartName="/ppt/charts/style652.xml" ContentType="application/vnd.ms-office.chartstyle+xml"/>
  <Override PartName="/ppt/charts/style653.xml" ContentType="application/vnd.ms-office.chartstyle+xml"/>
  <Override PartName="/ppt/charts/style654.xml" ContentType="application/vnd.ms-office.chartstyle+xml"/>
  <Override PartName="/ppt/charts/style655.xml" ContentType="application/vnd.ms-office.chartstyle+xml"/>
  <Override PartName="/ppt/charts/style656.xml" ContentType="application/vnd.ms-office.chartstyle+xml"/>
  <Override PartName="/ppt/charts/style657.xml" ContentType="application/vnd.ms-office.chartstyle+xml"/>
  <Override PartName="/ppt/charts/style658.xml" ContentType="application/vnd.ms-office.chartstyle+xml"/>
  <Override PartName="/ppt/charts/style659.xml" ContentType="application/vnd.ms-office.chartstyle+xml"/>
  <Override PartName="/ppt/charts/style66.xml" ContentType="application/vnd.ms-office.chartstyle+xml"/>
  <Override PartName="/ppt/charts/style660.xml" ContentType="application/vnd.ms-office.chartstyle+xml"/>
  <Override PartName="/ppt/charts/style661.xml" ContentType="application/vnd.ms-office.chartstyle+xml"/>
  <Override PartName="/ppt/charts/style662.xml" ContentType="application/vnd.ms-office.chartstyle+xml"/>
  <Override PartName="/ppt/charts/style663.xml" ContentType="application/vnd.ms-office.chartstyle+xml"/>
  <Override PartName="/ppt/charts/style664.xml" ContentType="application/vnd.ms-office.chartstyle+xml"/>
  <Override PartName="/ppt/charts/style665.xml" ContentType="application/vnd.ms-office.chartstyle+xml"/>
  <Override PartName="/ppt/charts/style666.xml" ContentType="application/vnd.ms-office.chartstyle+xml"/>
  <Override PartName="/ppt/charts/style667.xml" ContentType="application/vnd.ms-office.chartstyle+xml"/>
  <Override PartName="/ppt/charts/style668.xml" ContentType="application/vnd.ms-office.chartstyle+xml"/>
  <Override PartName="/ppt/charts/style669.xml" ContentType="application/vnd.ms-office.chartstyle+xml"/>
  <Override PartName="/ppt/charts/style67.xml" ContentType="application/vnd.ms-office.chartstyle+xml"/>
  <Override PartName="/ppt/charts/style670.xml" ContentType="application/vnd.ms-office.chartstyle+xml"/>
  <Override PartName="/ppt/charts/style671.xml" ContentType="application/vnd.ms-office.chartstyle+xml"/>
  <Override PartName="/ppt/charts/style672.xml" ContentType="application/vnd.ms-office.chartstyle+xml"/>
  <Override PartName="/ppt/charts/style673.xml" ContentType="application/vnd.ms-office.chartstyle+xml"/>
  <Override PartName="/ppt/charts/style674.xml" ContentType="application/vnd.ms-office.chartstyle+xml"/>
  <Override PartName="/ppt/charts/style675.xml" ContentType="application/vnd.ms-office.chartstyle+xml"/>
  <Override PartName="/ppt/charts/style676.xml" ContentType="application/vnd.ms-office.chartstyle+xml"/>
  <Override PartName="/ppt/charts/style677.xml" ContentType="application/vnd.ms-office.chartstyle+xml"/>
  <Override PartName="/ppt/charts/style678.xml" ContentType="application/vnd.ms-office.chartstyle+xml"/>
  <Override PartName="/ppt/charts/style679.xml" ContentType="application/vnd.ms-office.chartstyle+xml"/>
  <Override PartName="/ppt/charts/style68.xml" ContentType="application/vnd.ms-office.chartstyle+xml"/>
  <Override PartName="/ppt/charts/style680.xml" ContentType="application/vnd.ms-office.chartstyle+xml"/>
  <Override PartName="/ppt/charts/style681.xml" ContentType="application/vnd.ms-office.chartstyle+xml"/>
  <Override PartName="/ppt/charts/style682.xml" ContentType="application/vnd.ms-office.chartstyle+xml"/>
  <Override PartName="/ppt/charts/style683.xml" ContentType="application/vnd.ms-office.chartstyle+xml"/>
  <Override PartName="/ppt/charts/style684.xml" ContentType="application/vnd.ms-office.chartstyle+xml"/>
  <Override PartName="/ppt/charts/style685.xml" ContentType="application/vnd.ms-office.chartstyle+xml"/>
  <Override PartName="/ppt/charts/style686.xml" ContentType="application/vnd.ms-office.chartstyle+xml"/>
  <Override PartName="/ppt/charts/style687.xml" ContentType="application/vnd.ms-office.chartstyle+xml"/>
  <Override PartName="/ppt/charts/style688.xml" ContentType="application/vnd.ms-office.chartstyle+xml"/>
  <Override PartName="/ppt/charts/style689.xml" ContentType="application/vnd.ms-office.chartstyle+xml"/>
  <Override PartName="/ppt/charts/style69.xml" ContentType="application/vnd.ms-office.chartstyle+xml"/>
  <Override PartName="/ppt/charts/style690.xml" ContentType="application/vnd.ms-office.chartstyle+xml"/>
  <Override PartName="/ppt/charts/style691.xml" ContentType="application/vnd.ms-office.chartstyle+xml"/>
  <Override PartName="/ppt/charts/style692.xml" ContentType="application/vnd.ms-office.chartstyle+xml"/>
  <Override PartName="/ppt/charts/style693.xml" ContentType="application/vnd.ms-office.chartstyle+xml"/>
  <Override PartName="/ppt/charts/style694.xml" ContentType="application/vnd.ms-office.chartstyle+xml"/>
  <Override PartName="/ppt/charts/style695.xml" ContentType="application/vnd.ms-office.chartstyle+xml"/>
  <Override PartName="/ppt/charts/style696.xml" ContentType="application/vnd.ms-office.chartstyle+xml"/>
  <Override PartName="/ppt/charts/style697.xml" ContentType="application/vnd.ms-office.chartstyle+xml"/>
  <Override PartName="/ppt/charts/style698.xml" ContentType="application/vnd.ms-office.chartstyle+xml"/>
  <Override PartName="/ppt/charts/style69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704"/>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 id="2147477739" r:id="rId379"/>
    <p:sldId id="2147477740" r:id="rId380"/>
    <p:sldId id="2147477741" r:id="rId381"/>
    <p:sldId id="2147477742" r:id="rId382"/>
    <p:sldId id="2147477743" r:id="rId383"/>
    <p:sldId id="2147477744" r:id="rId384"/>
    <p:sldId id="2147477745" r:id="rId385"/>
    <p:sldId id="2147477746" r:id="rId386"/>
    <p:sldId id="2147477747" r:id="rId387"/>
    <p:sldId id="2147477748" r:id="rId388"/>
    <p:sldId id="2147477749" r:id="rId389"/>
    <p:sldId id="2147477750" r:id="rId390"/>
    <p:sldId id="2147477751" r:id="rId391"/>
    <p:sldId id="2147477752" r:id="rId392"/>
    <p:sldId id="2147477753" r:id="rId393"/>
    <p:sldId id="2147477754" r:id="rId394"/>
    <p:sldId id="2147477755" r:id="rId395"/>
    <p:sldId id="2147477756" r:id="rId396"/>
    <p:sldId id="2147477757" r:id="rId397"/>
    <p:sldId id="2147477758" r:id="rId398"/>
    <p:sldId id="2147477759" r:id="rId399"/>
    <p:sldId id="2147477760" r:id="rId400"/>
    <p:sldId id="2147477761" r:id="rId401"/>
    <p:sldId id="2147477762" r:id="rId402"/>
    <p:sldId id="2147477763" r:id="rId403"/>
    <p:sldId id="2147477764" r:id="rId404"/>
    <p:sldId id="2147477765" r:id="rId405"/>
    <p:sldId id="2147477766" r:id="rId406"/>
    <p:sldId id="2147477767" r:id="rId407"/>
    <p:sldId id="2147477768" r:id="rId408"/>
    <p:sldId id="2147477769" r:id="rId409"/>
    <p:sldId id="2147477770" r:id="rId410"/>
    <p:sldId id="2147477771" r:id="rId411"/>
    <p:sldId id="2147477772" r:id="rId412"/>
    <p:sldId id="2147477773" r:id="rId413"/>
    <p:sldId id="2147477774" r:id="rId414"/>
    <p:sldId id="2147477775" r:id="rId415"/>
    <p:sldId id="2147477776" r:id="rId416"/>
    <p:sldId id="2147477777" r:id="rId417"/>
    <p:sldId id="2147477778" r:id="rId418"/>
    <p:sldId id="2147477779" r:id="rId419"/>
    <p:sldId id="2147477780" r:id="rId420"/>
    <p:sldId id="2147477781" r:id="rId421"/>
    <p:sldId id="2147477782" r:id="rId422"/>
    <p:sldId id="2147477783" r:id="rId423"/>
    <p:sldId id="2147477784" r:id="rId424"/>
    <p:sldId id="2147477785" r:id="rId425"/>
    <p:sldId id="2147477786" r:id="rId426"/>
    <p:sldId id="2147477787" r:id="rId427"/>
    <p:sldId id="2147477788" r:id="rId428"/>
    <p:sldId id="2147477789" r:id="rId429"/>
    <p:sldId id="2147477790" r:id="rId430"/>
    <p:sldId id="2147477791" r:id="rId431"/>
    <p:sldId id="2147477792" r:id="rId432"/>
    <p:sldId id="2147477793" r:id="rId433"/>
    <p:sldId id="2147477794" r:id="rId434"/>
    <p:sldId id="2147477795" r:id="rId435"/>
    <p:sldId id="2147477796" r:id="rId436"/>
    <p:sldId id="2147477797" r:id="rId437"/>
    <p:sldId id="2147477798" r:id="rId438"/>
    <p:sldId id="2147477799" r:id="rId439"/>
    <p:sldId id="2147477800" r:id="rId440"/>
    <p:sldId id="2147477801" r:id="rId441"/>
    <p:sldId id="2147477802" r:id="rId442"/>
    <p:sldId id="2147477803" r:id="rId443"/>
    <p:sldId id="2147477804" r:id="rId444"/>
    <p:sldId id="2147477805" r:id="rId445"/>
    <p:sldId id="2147477806" r:id="rId446"/>
    <p:sldId id="2147477807" r:id="rId447"/>
    <p:sldId id="2147477808" r:id="rId448"/>
    <p:sldId id="2147477809" r:id="rId449"/>
    <p:sldId id="2147477810" r:id="rId450"/>
    <p:sldId id="2147477811" r:id="rId451"/>
    <p:sldId id="2147477812" r:id="rId452"/>
    <p:sldId id="2147477813" r:id="rId453"/>
    <p:sldId id="2147477814" r:id="rId454"/>
    <p:sldId id="2147477815" r:id="rId455"/>
    <p:sldId id="2147477816" r:id="rId456"/>
    <p:sldId id="2147477817" r:id="rId457"/>
    <p:sldId id="2147477818" r:id="rId458"/>
    <p:sldId id="2147477819" r:id="rId459"/>
    <p:sldId id="2147477820" r:id="rId460"/>
    <p:sldId id="2147477821" r:id="rId461"/>
    <p:sldId id="2147477822" r:id="rId462"/>
    <p:sldId id="2147477823" r:id="rId463"/>
    <p:sldId id="2147477824" r:id="rId464"/>
    <p:sldId id="2147477825" r:id="rId465"/>
    <p:sldId id="2147477826" r:id="rId466"/>
    <p:sldId id="2147477827" r:id="rId467"/>
    <p:sldId id="2147477828" r:id="rId468"/>
    <p:sldId id="2147477829" r:id="rId469"/>
    <p:sldId id="2147477830" r:id="rId470"/>
    <p:sldId id="2147477831" r:id="rId471"/>
    <p:sldId id="2147477832" r:id="rId472"/>
    <p:sldId id="2147477833" r:id="rId473"/>
    <p:sldId id="2147477834" r:id="rId474"/>
    <p:sldId id="2147477835" r:id="rId475"/>
    <p:sldId id="2147477836" r:id="rId476"/>
    <p:sldId id="2147477837" r:id="rId477"/>
    <p:sldId id="2147477838" r:id="rId478"/>
    <p:sldId id="2147477839" r:id="rId479"/>
    <p:sldId id="2147477840" r:id="rId480"/>
    <p:sldId id="2147477841" r:id="rId481"/>
    <p:sldId id="2147477842" r:id="rId482"/>
    <p:sldId id="2147477843" r:id="rId483"/>
    <p:sldId id="2147477844" r:id="rId484"/>
    <p:sldId id="2147477845" r:id="rId485"/>
    <p:sldId id="2147477846" r:id="rId486"/>
    <p:sldId id="2147477847" r:id="rId487"/>
    <p:sldId id="2147477848" r:id="rId488"/>
    <p:sldId id="2147477849" r:id="rId489"/>
    <p:sldId id="2147477850" r:id="rId490"/>
    <p:sldId id="2147477851" r:id="rId491"/>
    <p:sldId id="2147477852" r:id="rId492"/>
    <p:sldId id="2147477853" r:id="rId493"/>
    <p:sldId id="2147477854" r:id="rId494"/>
    <p:sldId id="2147477855" r:id="rId495"/>
    <p:sldId id="2147477856" r:id="rId496"/>
    <p:sldId id="2147477857" r:id="rId497"/>
    <p:sldId id="2147477858" r:id="rId498"/>
    <p:sldId id="2147477859" r:id="rId499"/>
    <p:sldId id="2147477860" r:id="rId500"/>
    <p:sldId id="2147477861" r:id="rId501"/>
    <p:sldId id="2147477862" r:id="rId502"/>
    <p:sldId id="2147477863" r:id="rId503"/>
    <p:sldId id="2147477864" r:id="rId504"/>
    <p:sldId id="2147477865" r:id="rId505"/>
    <p:sldId id="2147477866" r:id="rId506"/>
    <p:sldId id="2147477867" r:id="rId507"/>
    <p:sldId id="2147477868" r:id="rId508"/>
    <p:sldId id="2147477869" r:id="rId509"/>
    <p:sldId id="2147477870" r:id="rId510"/>
    <p:sldId id="2147477871" r:id="rId511"/>
    <p:sldId id="2147477872" r:id="rId512"/>
    <p:sldId id="2147477873" r:id="rId513"/>
    <p:sldId id="2147477874" r:id="rId514"/>
    <p:sldId id="2147477875" r:id="rId515"/>
    <p:sldId id="2147477876" r:id="rId516"/>
    <p:sldId id="2147477877" r:id="rId517"/>
    <p:sldId id="2147477878" r:id="rId518"/>
    <p:sldId id="2147477879" r:id="rId519"/>
    <p:sldId id="2147477880" r:id="rId520"/>
    <p:sldId id="2147477881" r:id="rId521"/>
    <p:sldId id="2147477882" r:id="rId522"/>
    <p:sldId id="2147477883" r:id="rId523"/>
    <p:sldId id="2147477884" r:id="rId524"/>
    <p:sldId id="2147477885" r:id="rId525"/>
    <p:sldId id="2147477886" r:id="rId526"/>
    <p:sldId id="2147477887" r:id="rId527"/>
    <p:sldId id="2147477888" r:id="rId528"/>
    <p:sldId id="2147477889" r:id="rId529"/>
    <p:sldId id="2147477890" r:id="rId530"/>
    <p:sldId id="2147477891" r:id="rId531"/>
    <p:sldId id="2147477892" r:id="rId532"/>
    <p:sldId id="2147477893" r:id="rId533"/>
    <p:sldId id="2147477894" r:id="rId534"/>
    <p:sldId id="2147477895" r:id="rId535"/>
    <p:sldId id="2147477896" r:id="rId536"/>
    <p:sldId id="2147477897" r:id="rId537"/>
    <p:sldId id="2147477898" r:id="rId538"/>
    <p:sldId id="2147477899" r:id="rId539"/>
    <p:sldId id="2147477900" r:id="rId540"/>
    <p:sldId id="2147477901" r:id="rId541"/>
    <p:sldId id="2147477902" r:id="rId542"/>
    <p:sldId id="2147477903" r:id="rId543"/>
    <p:sldId id="2147477904" r:id="rId544"/>
    <p:sldId id="2147477905" r:id="rId545"/>
    <p:sldId id="2147477906" r:id="rId546"/>
    <p:sldId id="2147477907" r:id="rId547"/>
    <p:sldId id="2147477908" r:id="rId548"/>
    <p:sldId id="2147477909" r:id="rId549"/>
    <p:sldId id="2147477910" r:id="rId550"/>
    <p:sldId id="2147477911" r:id="rId551"/>
    <p:sldId id="2147477912" r:id="rId552"/>
    <p:sldId id="2147477913" r:id="rId553"/>
    <p:sldId id="2147477914" r:id="rId554"/>
    <p:sldId id="2147477915" r:id="rId555"/>
    <p:sldId id="2147477916" r:id="rId556"/>
    <p:sldId id="2147477917" r:id="rId557"/>
    <p:sldId id="2147477918" r:id="rId558"/>
    <p:sldId id="2147477919" r:id="rId559"/>
    <p:sldId id="2147477920" r:id="rId560"/>
    <p:sldId id="2147477921" r:id="rId561"/>
    <p:sldId id="2147477922" r:id="rId562"/>
    <p:sldId id="2147477923" r:id="rId563"/>
    <p:sldId id="2147477924" r:id="rId564"/>
    <p:sldId id="2147477925" r:id="rId565"/>
    <p:sldId id="2147477926" r:id="rId566"/>
    <p:sldId id="2147477927" r:id="rId567"/>
    <p:sldId id="2147477928" r:id="rId568"/>
    <p:sldId id="2147477929" r:id="rId569"/>
    <p:sldId id="2147477930" r:id="rId570"/>
    <p:sldId id="2147477931" r:id="rId571"/>
    <p:sldId id="2147477932" r:id="rId572"/>
    <p:sldId id="2147477933" r:id="rId573"/>
    <p:sldId id="2147477934" r:id="rId574"/>
    <p:sldId id="2147477935" r:id="rId575"/>
    <p:sldId id="2147477936" r:id="rId576"/>
    <p:sldId id="2147477937" r:id="rId577"/>
    <p:sldId id="2147477938" r:id="rId578"/>
    <p:sldId id="2147477939" r:id="rId579"/>
    <p:sldId id="2147477940" r:id="rId580"/>
    <p:sldId id="2147477941" r:id="rId581"/>
    <p:sldId id="2147477942" r:id="rId582"/>
    <p:sldId id="2147477943" r:id="rId583"/>
    <p:sldId id="2147477944" r:id="rId584"/>
    <p:sldId id="2147477945" r:id="rId585"/>
    <p:sldId id="2147477946" r:id="rId586"/>
    <p:sldId id="2147477947" r:id="rId587"/>
    <p:sldId id="2147477948" r:id="rId588"/>
    <p:sldId id="2147477949" r:id="rId589"/>
    <p:sldId id="2147477950" r:id="rId590"/>
    <p:sldId id="2147477951" r:id="rId591"/>
    <p:sldId id="2147477952" r:id="rId592"/>
    <p:sldId id="2147477953" r:id="rId593"/>
    <p:sldId id="2147477954" r:id="rId594"/>
    <p:sldId id="2147477955" r:id="rId595"/>
    <p:sldId id="2147477956" r:id="rId596"/>
    <p:sldId id="2147477957" r:id="rId597"/>
    <p:sldId id="2147477958" r:id="rId598"/>
    <p:sldId id="2147477959" r:id="rId599"/>
    <p:sldId id="2147477960" r:id="rId600"/>
    <p:sldId id="2147477961" r:id="rId601"/>
    <p:sldId id="2147477962" r:id="rId602"/>
    <p:sldId id="2147477963" r:id="rId603"/>
    <p:sldId id="2147477964" r:id="rId604"/>
    <p:sldId id="2147477965" r:id="rId605"/>
    <p:sldId id="2147477966" r:id="rId606"/>
    <p:sldId id="2147477967" r:id="rId607"/>
    <p:sldId id="2147477968" r:id="rId608"/>
    <p:sldId id="2147477969" r:id="rId609"/>
    <p:sldId id="2147477970" r:id="rId610"/>
    <p:sldId id="2147477971" r:id="rId611"/>
    <p:sldId id="2147477972" r:id="rId612"/>
    <p:sldId id="2147477973" r:id="rId613"/>
    <p:sldId id="2147477974" r:id="rId614"/>
    <p:sldId id="2147477975" r:id="rId615"/>
    <p:sldId id="2147477976" r:id="rId616"/>
    <p:sldId id="2147477977" r:id="rId617"/>
    <p:sldId id="2147477978" r:id="rId618"/>
    <p:sldId id="2147477979" r:id="rId619"/>
    <p:sldId id="2147477980" r:id="rId620"/>
    <p:sldId id="2147477981" r:id="rId621"/>
    <p:sldId id="2147477982" r:id="rId622"/>
    <p:sldId id="2147477983" r:id="rId623"/>
    <p:sldId id="2147477984" r:id="rId624"/>
    <p:sldId id="2147477985" r:id="rId625"/>
    <p:sldId id="2147477986" r:id="rId626"/>
    <p:sldId id="2147477987" r:id="rId627"/>
    <p:sldId id="2147477988" r:id="rId628"/>
    <p:sldId id="2147477989" r:id="rId629"/>
    <p:sldId id="2147477990" r:id="rId630"/>
    <p:sldId id="2147477991" r:id="rId631"/>
    <p:sldId id="2147477992" r:id="rId632"/>
    <p:sldId id="2147477993" r:id="rId633"/>
    <p:sldId id="2147477994" r:id="rId634"/>
    <p:sldId id="2147477995" r:id="rId635"/>
    <p:sldId id="2147477996" r:id="rId636"/>
    <p:sldId id="2147477997" r:id="rId637"/>
    <p:sldId id="2147477998" r:id="rId638"/>
    <p:sldId id="2147477999" r:id="rId639"/>
    <p:sldId id="2147478000" r:id="rId640"/>
    <p:sldId id="2147478001" r:id="rId641"/>
    <p:sldId id="2147478002" r:id="rId642"/>
    <p:sldId id="2147478003" r:id="rId643"/>
    <p:sldId id="2147478004" r:id="rId644"/>
    <p:sldId id="2147478005" r:id="rId645"/>
    <p:sldId id="2147478006" r:id="rId646"/>
    <p:sldId id="2147478007" r:id="rId647"/>
    <p:sldId id="2147478008" r:id="rId648"/>
    <p:sldId id="2147478009" r:id="rId649"/>
    <p:sldId id="2147478010" r:id="rId650"/>
    <p:sldId id="2147478011" r:id="rId651"/>
    <p:sldId id="2147478012" r:id="rId652"/>
    <p:sldId id="2147478013" r:id="rId653"/>
    <p:sldId id="2147478014" r:id="rId654"/>
    <p:sldId id="2147478015" r:id="rId655"/>
    <p:sldId id="2147478016" r:id="rId656"/>
    <p:sldId id="2147478017" r:id="rId657"/>
    <p:sldId id="2147478018" r:id="rId658"/>
    <p:sldId id="2147478019" r:id="rId659"/>
    <p:sldId id="2147478020" r:id="rId660"/>
    <p:sldId id="2147478021" r:id="rId661"/>
    <p:sldId id="2147478022" r:id="rId662"/>
    <p:sldId id="2147478023" r:id="rId663"/>
    <p:sldId id="2147478024" r:id="rId664"/>
    <p:sldId id="2147478025" r:id="rId665"/>
    <p:sldId id="2147478026" r:id="rId666"/>
    <p:sldId id="2147478027" r:id="rId667"/>
    <p:sldId id="2147478028" r:id="rId668"/>
    <p:sldId id="2147478029" r:id="rId669"/>
    <p:sldId id="2147478030" r:id="rId670"/>
    <p:sldId id="2147478031" r:id="rId671"/>
    <p:sldId id="2147478032" r:id="rId672"/>
    <p:sldId id="2147478033" r:id="rId673"/>
    <p:sldId id="2147478034" r:id="rId674"/>
    <p:sldId id="2147478035" r:id="rId675"/>
    <p:sldId id="2147478036" r:id="rId676"/>
    <p:sldId id="2147478037" r:id="rId677"/>
    <p:sldId id="2147478038" r:id="rId678"/>
    <p:sldId id="2147478039" r:id="rId679"/>
    <p:sldId id="2147478040" r:id="rId680"/>
    <p:sldId id="2147478041" r:id="rId681"/>
    <p:sldId id="2147478042" r:id="rId682"/>
    <p:sldId id="2147478043" r:id="rId683"/>
    <p:sldId id="2147478044" r:id="rId684"/>
    <p:sldId id="2147478045" r:id="rId685"/>
    <p:sldId id="2147478046" r:id="rId686"/>
    <p:sldId id="2147478047" r:id="rId687"/>
    <p:sldId id="2147478048" r:id="rId688"/>
    <p:sldId id="2147478049" r:id="rId689"/>
    <p:sldId id="2147478050" r:id="rId690"/>
    <p:sldId id="2147478051" r:id="rId691"/>
    <p:sldId id="2147478052" r:id="rId692"/>
    <p:sldId id="2147478053" r:id="rId693"/>
    <p:sldId id="2147478054" r:id="rId694"/>
    <p:sldId id="2147478055" r:id="rId695"/>
    <p:sldId id="2147478056" r:id="rId696"/>
    <p:sldId id="2147478057" r:id="rId697"/>
    <p:sldId id="2147478058" r:id="rId698"/>
    <p:sldId id="2147478059" r:id="rId699"/>
    <p:sldId id="2147478060" r:id="rId700"/>
    <p:sldId id="2147478061" r:id="rId701"/>
    <p:sldId id="2147478062" r:id="rId702"/>
    <p:sldId id="2147478063" r:id="rId70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int Comparison Analysis by Product Scraped" id="{66C2BB5E-7900-4A1F-8CAF-3FFCC0D938B8}">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Lst>
        </p14:section>
        <p14:section name="Price Point Comparison Analysis by Manuf Scraped" id="{DF06C18B-D17F-4D55-8AB6-C7FE90D5BA27}">
          <p14:sldIdLst>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 id="2147477993"/>
            <p14:sldId id="2147477994"/>
            <p14:sldId id="2147477995"/>
            <p14:sldId id="2147477996"/>
            <p14:sldId id="2147477997"/>
            <p14:sldId id="2147477998"/>
            <p14:sldId id="2147477999"/>
            <p14:sldId id="2147478000"/>
            <p14:sldId id="2147478001"/>
            <p14:sldId id="2147478002"/>
            <p14:sldId id="2147478003"/>
            <p14:sldId id="2147478004"/>
            <p14:sldId id="2147478005"/>
            <p14:sldId id="2147478006"/>
            <p14:sldId id="2147478007"/>
            <p14:sldId id="2147478008"/>
            <p14:sldId id="2147478009"/>
            <p14:sldId id="2147478010"/>
            <p14:sldId id="2147478011"/>
            <p14:sldId id="2147478012"/>
            <p14:sldId id="2147478013"/>
            <p14:sldId id="2147478014"/>
            <p14:sldId id="2147478015"/>
            <p14:sldId id="2147478016"/>
            <p14:sldId id="2147478017"/>
            <p14:sldId id="2147478018"/>
            <p14:sldId id="2147478019"/>
            <p14:sldId id="2147478020"/>
            <p14:sldId id="2147478021"/>
            <p14:sldId id="2147478022"/>
            <p14:sldId id="2147478023"/>
            <p14:sldId id="2147478024"/>
            <p14:sldId id="2147478025"/>
            <p14:sldId id="2147478026"/>
            <p14:sldId id="2147478027"/>
            <p14:sldId id="2147478028"/>
            <p14:sldId id="2147478029"/>
            <p14:sldId id="2147478030"/>
            <p14:sldId id="2147478031"/>
            <p14:sldId id="2147478032"/>
            <p14:sldId id="2147478033"/>
            <p14:sldId id="2147478034"/>
            <p14:sldId id="2147478035"/>
            <p14:sldId id="2147478036"/>
            <p14:sldId id="2147478037"/>
            <p14:sldId id="2147478038"/>
            <p14:sldId id="2147478039"/>
            <p14:sldId id="2147478040"/>
            <p14:sldId id="2147478041"/>
            <p14:sldId id="2147478042"/>
            <p14:sldId id="2147478043"/>
            <p14:sldId id="2147478044"/>
            <p14:sldId id="2147478045"/>
            <p14:sldId id="2147478046"/>
            <p14:sldId id="2147478047"/>
            <p14:sldId id="2147478048"/>
            <p14:sldId id="2147478049"/>
            <p14:sldId id="2147478050"/>
            <p14:sldId id="2147478051"/>
            <p14:sldId id="2147478052"/>
            <p14:sldId id="2147478053"/>
            <p14:sldId id="2147478054"/>
            <p14:sldId id="2147478055"/>
            <p14:sldId id="2147478056"/>
            <p14:sldId id="2147478057"/>
            <p14:sldId id="2147478058"/>
            <p14:sldId id="2147478059"/>
            <p14:sldId id="2147478060"/>
            <p14:sldId id="2147478061"/>
            <p14:sldId id="2147478062"/>
            <p14:sldId id="2147478063"/>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slide" Target="slides/slide631.xml"/><Relationship Id="rId636" Type="http://schemas.openxmlformats.org/officeDocument/2006/relationships/slide" Target="slides/slide632.xml"/><Relationship Id="rId637" Type="http://schemas.openxmlformats.org/officeDocument/2006/relationships/slide" Target="slides/slide633.xml"/><Relationship Id="rId638" Type="http://schemas.openxmlformats.org/officeDocument/2006/relationships/slide" Target="slides/slide634.xml"/><Relationship Id="rId639" Type="http://schemas.openxmlformats.org/officeDocument/2006/relationships/slide" Target="slides/slide635.xml"/><Relationship Id="rId640" Type="http://schemas.openxmlformats.org/officeDocument/2006/relationships/slide" Target="slides/slide636.xml"/><Relationship Id="rId641" Type="http://schemas.openxmlformats.org/officeDocument/2006/relationships/slide" Target="slides/slide637.xml"/><Relationship Id="rId642" Type="http://schemas.openxmlformats.org/officeDocument/2006/relationships/slide" Target="slides/slide638.xml"/><Relationship Id="rId643" Type="http://schemas.openxmlformats.org/officeDocument/2006/relationships/slide" Target="slides/slide639.xml"/><Relationship Id="rId644" Type="http://schemas.openxmlformats.org/officeDocument/2006/relationships/slide" Target="slides/slide640.xml"/><Relationship Id="rId645" Type="http://schemas.openxmlformats.org/officeDocument/2006/relationships/slide" Target="slides/slide641.xml"/><Relationship Id="rId646" Type="http://schemas.openxmlformats.org/officeDocument/2006/relationships/slide" Target="slides/slide642.xml"/><Relationship Id="rId647" Type="http://schemas.openxmlformats.org/officeDocument/2006/relationships/slide" Target="slides/slide643.xml"/><Relationship Id="rId648" Type="http://schemas.openxmlformats.org/officeDocument/2006/relationships/slide" Target="slides/slide644.xml"/><Relationship Id="rId649" Type="http://schemas.openxmlformats.org/officeDocument/2006/relationships/slide" Target="slides/slide645.xml"/><Relationship Id="rId650" Type="http://schemas.openxmlformats.org/officeDocument/2006/relationships/slide" Target="slides/slide646.xml"/><Relationship Id="rId651" Type="http://schemas.openxmlformats.org/officeDocument/2006/relationships/slide" Target="slides/slide647.xml"/><Relationship Id="rId652" Type="http://schemas.openxmlformats.org/officeDocument/2006/relationships/slide" Target="slides/slide648.xml"/><Relationship Id="rId653" Type="http://schemas.openxmlformats.org/officeDocument/2006/relationships/slide" Target="slides/slide649.xml"/><Relationship Id="rId654" Type="http://schemas.openxmlformats.org/officeDocument/2006/relationships/slide" Target="slides/slide650.xml"/><Relationship Id="rId655" Type="http://schemas.openxmlformats.org/officeDocument/2006/relationships/slide" Target="slides/slide651.xml"/><Relationship Id="rId656" Type="http://schemas.openxmlformats.org/officeDocument/2006/relationships/slide" Target="slides/slide652.xml"/><Relationship Id="rId657" Type="http://schemas.openxmlformats.org/officeDocument/2006/relationships/slide" Target="slides/slide653.xml"/><Relationship Id="rId658" Type="http://schemas.openxmlformats.org/officeDocument/2006/relationships/slide" Target="slides/slide654.xml"/><Relationship Id="rId659" Type="http://schemas.openxmlformats.org/officeDocument/2006/relationships/slide" Target="slides/slide655.xml"/><Relationship Id="rId660" Type="http://schemas.openxmlformats.org/officeDocument/2006/relationships/slide" Target="slides/slide656.xml"/><Relationship Id="rId661" Type="http://schemas.openxmlformats.org/officeDocument/2006/relationships/slide" Target="slides/slide657.xml"/><Relationship Id="rId662" Type="http://schemas.openxmlformats.org/officeDocument/2006/relationships/slide" Target="slides/slide658.xml"/><Relationship Id="rId663" Type="http://schemas.openxmlformats.org/officeDocument/2006/relationships/slide" Target="slides/slide659.xml"/><Relationship Id="rId664" Type="http://schemas.openxmlformats.org/officeDocument/2006/relationships/slide" Target="slides/slide660.xml"/><Relationship Id="rId665" Type="http://schemas.openxmlformats.org/officeDocument/2006/relationships/slide" Target="slides/slide661.xml"/><Relationship Id="rId666" Type="http://schemas.openxmlformats.org/officeDocument/2006/relationships/slide" Target="slides/slide662.xml"/><Relationship Id="rId667" Type="http://schemas.openxmlformats.org/officeDocument/2006/relationships/slide" Target="slides/slide663.xml"/><Relationship Id="rId668" Type="http://schemas.openxmlformats.org/officeDocument/2006/relationships/slide" Target="slides/slide664.xml"/><Relationship Id="rId669" Type="http://schemas.openxmlformats.org/officeDocument/2006/relationships/slide" Target="slides/slide665.xml"/><Relationship Id="rId670" Type="http://schemas.openxmlformats.org/officeDocument/2006/relationships/slide" Target="slides/slide666.xml"/><Relationship Id="rId671" Type="http://schemas.openxmlformats.org/officeDocument/2006/relationships/slide" Target="slides/slide667.xml"/><Relationship Id="rId672" Type="http://schemas.openxmlformats.org/officeDocument/2006/relationships/slide" Target="slides/slide668.xml"/><Relationship Id="rId673" Type="http://schemas.openxmlformats.org/officeDocument/2006/relationships/slide" Target="slides/slide669.xml"/><Relationship Id="rId674" Type="http://schemas.openxmlformats.org/officeDocument/2006/relationships/slide" Target="slides/slide670.xml"/><Relationship Id="rId675" Type="http://schemas.openxmlformats.org/officeDocument/2006/relationships/slide" Target="slides/slide671.xml"/><Relationship Id="rId676" Type="http://schemas.openxmlformats.org/officeDocument/2006/relationships/slide" Target="slides/slide672.xml"/><Relationship Id="rId677" Type="http://schemas.openxmlformats.org/officeDocument/2006/relationships/slide" Target="slides/slide673.xml"/><Relationship Id="rId678" Type="http://schemas.openxmlformats.org/officeDocument/2006/relationships/slide" Target="slides/slide674.xml"/><Relationship Id="rId679" Type="http://schemas.openxmlformats.org/officeDocument/2006/relationships/slide" Target="slides/slide675.xml"/><Relationship Id="rId680" Type="http://schemas.openxmlformats.org/officeDocument/2006/relationships/slide" Target="slides/slide676.xml"/><Relationship Id="rId681" Type="http://schemas.openxmlformats.org/officeDocument/2006/relationships/slide" Target="slides/slide677.xml"/><Relationship Id="rId682" Type="http://schemas.openxmlformats.org/officeDocument/2006/relationships/slide" Target="slides/slide678.xml"/><Relationship Id="rId683" Type="http://schemas.openxmlformats.org/officeDocument/2006/relationships/slide" Target="slides/slide679.xml"/><Relationship Id="rId684" Type="http://schemas.openxmlformats.org/officeDocument/2006/relationships/slide" Target="slides/slide680.xml"/><Relationship Id="rId685" Type="http://schemas.openxmlformats.org/officeDocument/2006/relationships/slide" Target="slides/slide681.xml"/><Relationship Id="rId686" Type="http://schemas.openxmlformats.org/officeDocument/2006/relationships/slide" Target="slides/slide682.xml"/><Relationship Id="rId687" Type="http://schemas.openxmlformats.org/officeDocument/2006/relationships/slide" Target="slides/slide683.xml"/><Relationship Id="rId688" Type="http://schemas.openxmlformats.org/officeDocument/2006/relationships/slide" Target="slides/slide684.xml"/><Relationship Id="rId689" Type="http://schemas.openxmlformats.org/officeDocument/2006/relationships/slide" Target="slides/slide685.xml"/><Relationship Id="rId690" Type="http://schemas.openxmlformats.org/officeDocument/2006/relationships/slide" Target="slides/slide686.xml"/><Relationship Id="rId691" Type="http://schemas.openxmlformats.org/officeDocument/2006/relationships/slide" Target="slides/slide687.xml"/><Relationship Id="rId692" Type="http://schemas.openxmlformats.org/officeDocument/2006/relationships/slide" Target="slides/slide688.xml"/><Relationship Id="rId693" Type="http://schemas.openxmlformats.org/officeDocument/2006/relationships/slide" Target="slides/slide689.xml"/><Relationship Id="rId694" Type="http://schemas.openxmlformats.org/officeDocument/2006/relationships/slide" Target="slides/slide690.xml"/><Relationship Id="rId695" Type="http://schemas.openxmlformats.org/officeDocument/2006/relationships/slide" Target="slides/slide691.xml"/><Relationship Id="rId696" Type="http://schemas.openxmlformats.org/officeDocument/2006/relationships/slide" Target="slides/slide692.xml"/><Relationship Id="rId697" Type="http://schemas.openxmlformats.org/officeDocument/2006/relationships/slide" Target="slides/slide693.xml"/><Relationship Id="rId698" Type="http://schemas.openxmlformats.org/officeDocument/2006/relationships/slide" Target="slides/slide694.xml"/><Relationship Id="rId699" Type="http://schemas.openxmlformats.org/officeDocument/2006/relationships/slide" Target="slides/slide695.xml"/><Relationship Id="rId700" Type="http://schemas.openxmlformats.org/officeDocument/2006/relationships/slide" Target="slides/slide696.xml"/><Relationship Id="rId701" Type="http://schemas.openxmlformats.org/officeDocument/2006/relationships/slide" Target="slides/slide697.xml"/><Relationship Id="rId702" Type="http://schemas.openxmlformats.org/officeDocument/2006/relationships/slide" Target="slides/slide698.xml"/><Relationship Id="rId703" Type="http://schemas.openxmlformats.org/officeDocument/2006/relationships/slide" Target="slides/slide699.xml"/><Relationship Id="rId704" Type="http://schemas.openxmlformats.org/officeDocument/2006/relationships/notesMaster" Target="notesMasters/notesMaster1.xml"/><Relationship Id="rId705" Type="http://schemas.openxmlformats.org/officeDocument/2006/relationships/presProps" Target="presProps.xml"/><Relationship Id="rId706" Type="http://schemas.openxmlformats.org/officeDocument/2006/relationships/viewProps" Target="viewProps.xml"/><Relationship Id="rId707" Type="http://schemas.openxmlformats.org/officeDocument/2006/relationships/theme" Target="theme/theme1.xml"/><Relationship Id="rId708" Type="http://schemas.openxmlformats.org/officeDocument/2006/relationships/tableStyles" Target="tableStyles.xml"/><Relationship Id="rId709" Type="http://schemas.microsoft.com/office/2015/10/relationships/revisionInfo" Target="revisionInfo.xml"/></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113.xlsx"/></Relationships>
</file>

<file path=ppt/charts/_rels/chart116.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115.xlsx"/></Relationships>
</file>

<file path=ppt/charts/_rels/chart118.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118.xlsx"/></Relationships>
</file>

<file path=ppt/charts/_rels/chart120.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119.xlsx"/></Relationships>
</file>

<file path=ppt/charts/_rels/chart12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126.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microsoft.com/office/2011/relationships/chartStyle" Target="style138.xml"/><Relationship Id="rId2" Type="http://schemas.microsoft.com/office/2011/relationships/chartColorStyle" Target="colors138.xml"/><Relationship Id="rId3" Type="http://schemas.openxmlformats.org/officeDocument/2006/relationships/package" Target="../embeddings/Microsoft_Excel_Worksheet137.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microsoft.com/office/2011/relationships/chartStyle" Target="style140.xml"/><Relationship Id="rId2" Type="http://schemas.microsoft.com/office/2011/relationships/chartColorStyle" Target="colors140.xml"/><Relationship Id="rId3"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microsoft.com/office/2011/relationships/chartStyle" Target="style141.xml"/><Relationship Id="rId2" Type="http://schemas.microsoft.com/office/2011/relationships/chartColorStyle" Target="colors141.xml"/><Relationship Id="rId3"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microsoft.com/office/2011/relationships/chartStyle" Target="style142.xml"/><Relationship Id="rId2" Type="http://schemas.microsoft.com/office/2011/relationships/chartColorStyle" Target="colors142.xml"/><Relationship Id="rId3"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microsoft.com/office/2011/relationships/chartStyle" Target="style143.xml"/><Relationship Id="rId2" Type="http://schemas.microsoft.com/office/2011/relationships/chartColorStyle" Target="colors143.xml"/><Relationship Id="rId3"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microsoft.com/office/2011/relationships/chartStyle" Target="style145.xml"/><Relationship Id="rId2" Type="http://schemas.microsoft.com/office/2011/relationships/chartColorStyle" Target="colors145.xml"/><Relationship Id="rId3" Type="http://schemas.openxmlformats.org/officeDocument/2006/relationships/package" Target="../embeddings/Microsoft_Excel_Worksheet144.xlsx"/></Relationships>
</file>

<file path=ppt/charts/_rels/chart147.xml.rels><?xml version='1.0' encoding='UTF-8' standalone='yes'?>
<Relationships xmlns="http://schemas.openxmlformats.org/package/2006/relationships"><Relationship Id="rId1" Type="http://schemas.microsoft.com/office/2011/relationships/chartStyle" Target="style147.xml"/><Relationship Id="rId2" Type="http://schemas.microsoft.com/office/2011/relationships/chartColorStyle" Target="colors147.xml"/><Relationship Id="rId3"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microsoft.com/office/2011/relationships/chartStyle" Target="style148.xml"/><Relationship Id="rId2" Type="http://schemas.microsoft.com/office/2011/relationships/chartColorStyle" Target="colors148.xml"/><Relationship Id="rId3"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microsoft.com/office/2011/relationships/chartStyle" Target="style149.xml"/><Relationship Id="rId2" Type="http://schemas.microsoft.com/office/2011/relationships/chartColorStyle" Target="colors149.xml"/><Relationship Id="rId3"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51.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microsoft.com/office/2011/relationships/chartStyle" Target="style153.xml"/><Relationship Id="rId2" Type="http://schemas.microsoft.com/office/2011/relationships/chartColorStyle" Target="colors153.xml"/><Relationship Id="rId3"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microsoft.com/office/2011/relationships/chartStyle" Target="style154.xml"/><Relationship Id="rId2" Type="http://schemas.microsoft.com/office/2011/relationships/chartColorStyle" Target="colors154.xml"/><Relationship Id="rId3"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microsoft.com/office/2011/relationships/chartStyle" Target="style155.xml"/><Relationship Id="rId2" Type="http://schemas.microsoft.com/office/2011/relationships/chartColorStyle" Target="colors155.xml"/><Relationship Id="rId3"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microsoft.com/office/2011/relationships/chartStyle" Target="style156.xml"/><Relationship Id="rId2" Type="http://schemas.microsoft.com/office/2011/relationships/chartColorStyle" Target="colors156.xml"/><Relationship Id="rId3" Type="http://schemas.openxmlformats.org/officeDocument/2006/relationships/package" Target="../embeddings/Microsoft_Excel_Worksheet155.xlsx"/></Relationships>
</file>

<file path=ppt/charts/_rels/chart158.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microsoft.com/office/2011/relationships/chartStyle" Target="style159.xml"/><Relationship Id="rId2" Type="http://schemas.microsoft.com/office/2011/relationships/chartColorStyle" Target="colors159.xml"/><Relationship Id="rId3"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microsoft.com/office/2011/relationships/chartStyle" Target="style160.xml"/><Relationship Id="rId2" Type="http://schemas.microsoft.com/office/2011/relationships/chartColorStyle" Target="colors160.xml"/><Relationship Id="rId3" Type="http://schemas.openxmlformats.org/officeDocument/2006/relationships/package" Target="../embeddings/Microsoft_Excel_Worksheet159.xlsx"/></Relationships>
</file>

<file path=ppt/charts/_rels/chart162.xml.rels><?xml version='1.0' encoding='UTF-8' standalone='yes'?>
<Relationships xmlns="http://schemas.openxmlformats.org/package/2006/relationships"><Relationship Id="rId1" Type="http://schemas.microsoft.com/office/2011/relationships/chartStyle" Target="style162.xml"/><Relationship Id="rId2" Type="http://schemas.microsoft.com/office/2011/relationships/chartColorStyle" Target="colors162.xml"/><Relationship Id="rId3"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microsoft.com/office/2011/relationships/chartStyle" Target="style165.xml"/><Relationship Id="rId2" Type="http://schemas.microsoft.com/office/2011/relationships/chartColorStyle" Target="colors165.xml"/><Relationship Id="rId3"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microsoft.com/office/2011/relationships/chartStyle" Target="style167.xml"/><Relationship Id="rId2" Type="http://schemas.microsoft.com/office/2011/relationships/chartColorStyle" Target="colors167.xml"/><Relationship Id="rId3" Type="http://schemas.openxmlformats.org/officeDocument/2006/relationships/package" Target="../embeddings/Microsoft_Excel_Worksheet166.xlsx"/></Relationships>
</file>

<file path=ppt/charts/_rels/chart169.xml.rels><?xml version='1.0' encoding='UTF-8' standalone='yes'?>
<Relationships xmlns="http://schemas.openxmlformats.org/package/2006/relationships"><Relationship Id="rId1" Type="http://schemas.microsoft.com/office/2011/relationships/chartStyle" Target="style169.xml"/><Relationship Id="rId2" Type="http://schemas.microsoft.com/office/2011/relationships/chartColorStyle" Target="colors169.xml"/><Relationship Id="rId3"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microsoft.com/office/2011/relationships/chartStyle" Target="style170.xml"/><Relationship Id="rId2" Type="http://schemas.microsoft.com/office/2011/relationships/chartColorStyle" Target="colors170.xml"/><Relationship Id="rId3"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microsoft.com/office/2011/relationships/chartStyle" Target="style171.xml"/><Relationship Id="rId2" Type="http://schemas.microsoft.com/office/2011/relationships/chartColorStyle" Target="colors171.xml"/><Relationship Id="rId3" Type="http://schemas.openxmlformats.org/officeDocument/2006/relationships/package" Target="../embeddings/Microsoft_Excel_Worksheet170.xlsx"/></Relationships>
</file>

<file path=ppt/charts/_rels/chart173.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microsoft.com/office/2011/relationships/chartStyle" Target="style175.xml"/><Relationship Id="rId2" Type="http://schemas.microsoft.com/office/2011/relationships/chartColorStyle" Target="colors175.xml"/><Relationship Id="rId3"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microsoft.com/office/2011/relationships/chartStyle" Target="style176.xml"/><Relationship Id="rId2" Type="http://schemas.microsoft.com/office/2011/relationships/chartColorStyle" Target="colors176.xml"/><Relationship Id="rId3"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microsoft.com/office/2011/relationships/chartStyle" Target="style177.xml"/><Relationship Id="rId2" Type="http://schemas.microsoft.com/office/2011/relationships/chartColorStyle" Target="colors177.xml"/><Relationship Id="rId3"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microsoft.com/office/2011/relationships/chartStyle" Target="style178.xml"/><Relationship Id="rId2" Type="http://schemas.microsoft.com/office/2011/relationships/chartColorStyle" Target="colors178.xml"/><Relationship Id="rId3" Type="http://schemas.openxmlformats.org/officeDocument/2006/relationships/package" Target="../embeddings/Microsoft_Excel_Worksheet177.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microsoft.com/office/2011/relationships/chartStyle" Target="style180.xml"/><Relationship Id="rId2" Type="http://schemas.microsoft.com/office/2011/relationships/chartColorStyle" Target="colors180.xml"/><Relationship Id="rId3"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microsoft.com/office/2011/relationships/chartStyle" Target="style182.xml"/><Relationship Id="rId2" Type="http://schemas.microsoft.com/office/2011/relationships/chartColorStyle" Target="colors182.xml"/><Relationship Id="rId3" Type="http://schemas.openxmlformats.org/officeDocument/2006/relationships/package" Target="../embeddings/Microsoft_Excel_Worksheet181.xlsx"/></Relationships>
</file>

<file path=ppt/charts/_rels/chart184.xml.rels><?xml version='1.0' encoding='UTF-8' standalone='yes'?>
<Relationships xmlns="http://schemas.openxmlformats.org/package/2006/relationships"><Relationship Id="rId1" Type="http://schemas.microsoft.com/office/2011/relationships/chartStyle" Target="style184.xml"/><Relationship Id="rId2" Type="http://schemas.microsoft.com/office/2011/relationships/chartColorStyle" Target="colors184.xml"/><Relationship Id="rId3"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microsoft.com/office/2011/relationships/chartStyle" Target="style185.xml"/><Relationship Id="rId2" Type="http://schemas.microsoft.com/office/2011/relationships/chartColorStyle" Target="colors185.xml"/><Relationship Id="rId3"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microsoft.com/office/2011/relationships/chartStyle" Target="style186.xml"/><Relationship Id="rId2" Type="http://schemas.microsoft.com/office/2011/relationships/chartColorStyle" Target="colors186.xml"/><Relationship Id="rId3"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microsoft.com/office/2011/relationships/chartStyle" Target="style189.xml"/><Relationship Id="rId2" Type="http://schemas.microsoft.com/office/2011/relationships/chartColorStyle" Target="colors189.xml"/><Relationship Id="rId3" Type="http://schemas.openxmlformats.org/officeDocument/2006/relationships/package" Target="../embeddings/Microsoft_Excel_Worksheet188.xlsx"/></Relationships>
</file>

<file path=ppt/charts/_rels/chart191.xml.rels><?xml version='1.0' encoding='UTF-8' standalone='yes'?>
<Relationships xmlns="http://schemas.openxmlformats.org/package/2006/relationships"><Relationship Id="rId1" Type="http://schemas.microsoft.com/office/2011/relationships/chartStyle" Target="style191.xml"/><Relationship Id="rId2" Type="http://schemas.microsoft.com/office/2011/relationships/chartColorStyle" Target="colors191.xml"/><Relationship Id="rId3"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microsoft.com/office/2011/relationships/chartStyle" Target="style192.xml"/><Relationship Id="rId2" Type="http://schemas.microsoft.com/office/2011/relationships/chartColorStyle" Target="colors192.xml"/><Relationship Id="rId3"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microsoft.com/office/2011/relationships/chartStyle" Target="style193.xml"/><Relationship Id="rId2" Type="http://schemas.microsoft.com/office/2011/relationships/chartColorStyle" Target="colors193.xml"/><Relationship Id="rId3" Type="http://schemas.openxmlformats.org/officeDocument/2006/relationships/package" Target="../embeddings/Microsoft_Excel_Worksheet192.xlsx"/></Relationships>
</file>

<file path=ppt/charts/_rels/chart195.xml.rels><?xml version='1.0' encoding='UTF-8' standalone='yes'?>
<Relationships xmlns="http://schemas.openxmlformats.org/package/2006/relationships"><Relationship Id="rId1" Type="http://schemas.microsoft.com/office/2011/relationships/chartStyle" Target="style195.xml"/><Relationship Id="rId2" Type="http://schemas.microsoft.com/office/2011/relationships/chartColorStyle" Target="colors195.xml"/><Relationship Id="rId3"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microsoft.com/office/2011/relationships/chartStyle" Target="style197.xml"/><Relationship Id="rId2" Type="http://schemas.microsoft.com/office/2011/relationships/chartColorStyle" Target="colors197.xml"/><Relationship Id="rId3"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microsoft.com/office/2011/relationships/chartStyle" Target="style198.xml"/><Relationship Id="rId2" Type="http://schemas.microsoft.com/office/2011/relationships/chartColorStyle" Target="colors198.xml"/><Relationship Id="rId3"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microsoft.com/office/2011/relationships/chartStyle" Target="style199.xml"/><Relationship Id="rId2" Type="http://schemas.microsoft.com/office/2011/relationships/chartColorStyle" Target="colors199.xml"/><Relationship Id="rId3"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microsoft.com/office/2011/relationships/chartStyle" Target="style200.xml"/><Relationship Id="rId2" Type="http://schemas.microsoft.com/office/2011/relationships/chartColorStyle" Target="colors200.xml"/><Relationship Id="rId3"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microsoft.com/office/2011/relationships/chartStyle" Target="style201.xml"/><Relationship Id="rId2" Type="http://schemas.microsoft.com/office/2011/relationships/chartColorStyle" Target="colors201.xml"/><Relationship Id="rId3"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microsoft.com/office/2011/relationships/chartStyle" Target="style202.xml"/><Relationship Id="rId2" Type="http://schemas.microsoft.com/office/2011/relationships/chartColorStyle" Target="colors202.xml"/><Relationship Id="rId3"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microsoft.com/office/2011/relationships/chartStyle" Target="style203.xml"/><Relationship Id="rId2" Type="http://schemas.microsoft.com/office/2011/relationships/chartColorStyle" Target="colors203.xml"/><Relationship Id="rId3" Type="http://schemas.openxmlformats.org/officeDocument/2006/relationships/package" Target="../embeddings/Microsoft_Excel_Worksheet202.xlsx"/></Relationships>
</file>

<file path=ppt/charts/_rels/chart205.xml.rels><?xml version='1.0' encoding='UTF-8' standalone='yes'?>
<Relationships xmlns="http://schemas.openxmlformats.org/package/2006/relationships"><Relationship Id="rId1" Type="http://schemas.microsoft.com/office/2011/relationships/chartStyle" Target="style205.xml"/><Relationship Id="rId2" Type="http://schemas.microsoft.com/office/2011/relationships/chartColorStyle" Target="colors205.xml"/><Relationship Id="rId3" Type="http://schemas.openxmlformats.org/officeDocument/2006/relationships/package" Target="../embeddings/Microsoft_Excel_Worksheet204.xlsx"/></Relationships>
</file>

<file path=ppt/charts/_rels/chart207.xml.rels><?xml version='1.0' encoding='UTF-8' standalone='yes'?>
<Relationships xmlns="http://schemas.openxmlformats.org/package/2006/relationships"><Relationship Id="rId1" Type="http://schemas.microsoft.com/office/2011/relationships/chartStyle" Target="style207.xml"/><Relationship Id="rId2" Type="http://schemas.microsoft.com/office/2011/relationships/chartColorStyle" Target="colors207.xml"/><Relationship Id="rId3"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microsoft.com/office/2011/relationships/chartStyle" Target="style208.xml"/><Relationship Id="rId2" Type="http://schemas.microsoft.com/office/2011/relationships/chartColorStyle" Target="colors208.xml"/><Relationship Id="rId3"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microsoft.com/office/2011/relationships/chartStyle" Target="style209.xml"/><Relationship Id="rId2" Type="http://schemas.microsoft.com/office/2011/relationships/chartColorStyle" Target="colors209.xml"/><Relationship Id="rId3"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microsoft.com/office/2011/relationships/chartStyle" Target="style210.xml"/><Relationship Id="rId2" Type="http://schemas.microsoft.com/office/2011/relationships/chartColorStyle" Target="colors210.xml"/><Relationship Id="rId3"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microsoft.com/office/2011/relationships/chartStyle" Target="style211.xml"/><Relationship Id="rId2" Type="http://schemas.microsoft.com/office/2011/relationships/chartColorStyle" Target="colors211.xml"/><Relationship Id="rId3"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microsoft.com/office/2011/relationships/chartStyle" Target="style212.xml"/><Relationship Id="rId2" Type="http://schemas.microsoft.com/office/2011/relationships/chartColorStyle" Target="colors212.xml"/><Relationship Id="rId3"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microsoft.com/office/2011/relationships/chartStyle" Target="style213.xml"/><Relationship Id="rId2" Type="http://schemas.microsoft.com/office/2011/relationships/chartColorStyle" Target="colors213.xml"/><Relationship Id="rId3"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microsoft.com/office/2011/relationships/chartStyle" Target="style214.xml"/><Relationship Id="rId2" Type="http://schemas.microsoft.com/office/2011/relationships/chartColorStyle" Target="colors214.xml"/><Relationship Id="rId3" Type="http://schemas.openxmlformats.org/officeDocument/2006/relationships/package" Target="../embeddings/Microsoft_Excel_Worksheet213.xlsx"/></Relationships>
</file>

<file path=ppt/charts/_rels/chart216.xml.rels><?xml version='1.0' encoding='UTF-8' standalone='yes'?>
<Relationships xmlns="http://schemas.openxmlformats.org/package/2006/relationships"><Relationship Id="rId1" Type="http://schemas.microsoft.com/office/2011/relationships/chartStyle" Target="style216.xml"/><Relationship Id="rId2" Type="http://schemas.microsoft.com/office/2011/relationships/chartColorStyle" Target="colors216.xml"/><Relationship Id="rId3" Type="http://schemas.openxmlformats.org/officeDocument/2006/relationships/package" Target="../embeddings/Microsoft_Excel_Worksheet215.xlsx"/></Relationships>
</file>

<file path=ppt/charts/_rels/chart218.xml.rels><?xml version='1.0' encoding='UTF-8' standalone='yes'?>
<Relationships xmlns="http://schemas.openxmlformats.org/package/2006/relationships"><Relationship Id="rId1" Type="http://schemas.microsoft.com/office/2011/relationships/chartStyle" Target="style218.xml"/><Relationship Id="rId2" Type="http://schemas.microsoft.com/office/2011/relationships/chartColorStyle" Target="colors218.xml"/><Relationship Id="rId3"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microsoft.com/office/2011/relationships/chartStyle" Target="style220.xml"/><Relationship Id="rId2" Type="http://schemas.microsoft.com/office/2011/relationships/chartColorStyle" Target="colors220.xml"/><Relationship Id="rId3"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microsoft.com/office/2011/relationships/chartStyle" Target="style221.xml"/><Relationship Id="rId2" Type="http://schemas.microsoft.com/office/2011/relationships/chartColorStyle" Target="colors221.xml"/><Relationship Id="rId3"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microsoft.com/office/2011/relationships/chartStyle" Target="style222.xml"/><Relationship Id="rId2" Type="http://schemas.microsoft.com/office/2011/relationships/chartColorStyle" Target="colors222.xml"/><Relationship Id="rId3"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microsoft.com/office/2011/relationships/chartStyle" Target="style223.xml"/><Relationship Id="rId2" Type="http://schemas.microsoft.com/office/2011/relationships/chartColorStyle" Target="colors223.xml"/><Relationship Id="rId3"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microsoft.com/office/2011/relationships/chartStyle" Target="style224.xml"/><Relationship Id="rId2" Type="http://schemas.microsoft.com/office/2011/relationships/chartColorStyle" Target="colors224.xml"/><Relationship Id="rId3"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microsoft.com/office/2011/relationships/chartStyle" Target="style225.xml"/><Relationship Id="rId2" Type="http://schemas.microsoft.com/office/2011/relationships/chartColorStyle" Target="colors225.xml"/><Relationship Id="rId3"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microsoft.com/office/2011/relationships/chartStyle" Target="style226.xml"/><Relationship Id="rId2" Type="http://schemas.microsoft.com/office/2011/relationships/chartColorStyle" Target="colors226.xml"/><Relationship Id="rId3"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microsoft.com/office/2011/relationships/chartStyle" Target="style227.xml"/><Relationship Id="rId2" Type="http://schemas.microsoft.com/office/2011/relationships/chartColorStyle" Target="colors227.xml"/><Relationship Id="rId3" Type="http://schemas.openxmlformats.org/officeDocument/2006/relationships/package" Target="../embeddings/Microsoft_Excel_Worksheet226.xlsx"/></Relationships>
</file>

<file path=ppt/charts/_rels/chart229.xml.rels><?xml version='1.0' encoding='UTF-8' standalone='yes'?>
<Relationships xmlns="http://schemas.openxmlformats.org/package/2006/relationships"><Relationship Id="rId1" Type="http://schemas.microsoft.com/office/2011/relationships/chartStyle" Target="style229.xml"/><Relationship Id="rId2" Type="http://schemas.microsoft.com/office/2011/relationships/chartColorStyle" Target="colors229.xml"/><Relationship Id="rId3" Type="http://schemas.openxmlformats.org/officeDocument/2006/relationships/package" Target="../embeddings/Microsoft_Excel_Worksheet228.xlsx"/></Relationships>
</file>

<file path=ppt/charts/_rels/chart230.xml.rels><?xml version='1.0' encoding='UTF-8' standalone='yes'?>
<Relationships xmlns="http://schemas.openxmlformats.org/package/2006/relationships"><Relationship Id="rId1" Type="http://schemas.microsoft.com/office/2011/relationships/chartStyle" Target="style230.xml"/><Relationship Id="rId2" Type="http://schemas.microsoft.com/office/2011/relationships/chartColorStyle" Target="colors230.xml"/><Relationship Id="rId3"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microsoft.com/office/2011/relationships/chartStyle" Target="style231.xml"/><Relationship Id="rId2" Type="http://schemas.microsoft.com/office/2011/relationships/chartColorStyle" Target="colors231.xml"/><Relationship Id="rId3"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microsoft.com/office/2011/relationships/chartStyle" Target="style232.xml"/><Relationship Id="rId2" Type="http://schemas.microsoft.com/office/2011/relationships/chartColorStyle" Target="colors232.xml"/><Relationship Id="rId3" Type="http://schemas.openxmlformats.org/officeDocument/2006/relationships/package" Target="../embeddings/Microsoft_Excel_Worksheet231.xlsx"/></Relationships>
</file>

<file path=ppt/charts/_rels/chart234.xml.rels><?xml version='1.0' encoding='UTF-8' standalone='yes'?>
<Relationships xmlns="http://schemas.openxmlformats.org/package/2006/relationships"><Relationship Id="rId1" Type="http://schemas.microsoft.com/office/2011/relationships/chartStyle" Target="style234.xml"/><Relationship Id="rId2" Type="http://schemas.microsoft.com/office/2011/relationships/chartColorStyle" Target="colors234.xml"/><Relationship Id="rId3"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microsoft.com/office/2011/relationships/chartStyle" Target="style235.xml"/><Relationship Id="rId2" Type="http://schemas.microsoft.com/office/2011/relationships/chartColorStyle" Target="colors235.xml"/><Relationship Id="rId3"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microsoft.com/office/2011/relationships/chartStyle" Target="style236.xml"/><Relationship Id="rId2" Type="http://schemas.microsoft.com/office/2011/relationships/chartColorStyle" Target="colors236.xml"/><Relationship Id="rId3"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microsoft.com/office/2011/relationships/chartStyle" Target="style237.xml"/><Relationship Id="rId2" Type="http://schemas.microsoft.com/office/2011/relationships/chartColorStyle" Target="colors237.xml"/><Relationship Id="rId3"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microsoft.com/office/2011/relationships/chartStyle" Target="style238.xml"/><Relationship Id="rId2" Type="http://schemas.microsoft.com/office/2011/relationships/chartColorStyle" Target="colors238.xml"/><Relationship Id="rId3" Type="http://schemas.openxmlformats.org/officeDocument/2006/relationships/package" Target="../embeddings/Microsoft_Excel_Worksheet237.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microsoft.com/office/2011/relationships/chartStyle" Target="style240.xml"/><Relationship Id="rId2" Type="http://schemas.microsoft.com/office/2011/relationships/chartColorStyle" Target="colors240.xml"/><Relationship Id="rId3"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microsoft.com/office/2011/relationships/chartStyle" Target="style241.xml"/><Relationship Id="rId2" Type="http://schemas.microsoft.com/office/2011/relationships/chartColorStyle" Target="colors241.xml"/><Relationship Id="rId3"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microsoft.com/office/2011/relationships/chartStyle" Target="style242.xml"/><Relationship Id="rId2" Type="http://schemas.microsoft.com/office/2011/relationships/chartColorStyle" Target="colors242.xml"/><Relationship Id="rId3"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microsoft.com/office/2011/relationships/chartStyle" Target="style243.xml"/><Relationship Id="rId2" Type="http://schemas.microsoft.com/office/2011/relationships/chartColorStyle" Target="colors243.xml"/><Relationship Id="rId3" Type="http://schemas.openxmlformats.org/officeDocument/2006/relationships/package" Target="../embeddings/Microsoft_Excel_Worksheet242.xlsx"/></Relationships>
</file>

<file path=ppt/charts/_rels/chart245.xml.rels><?xml version='1.0' encoding='UTF-8' standalone='yes'?>
<Relationships xmlns="http://schemas.openxmlformats.org/package/2006/relationships"><Relationship Id="rId1" Type="http://schemas.microsoft.com/office/2011/relationships/chartStyle" Target="style245.xml"/><Relationship Id="rId2" Type="http://schemas.microsoft.com/office/2011/relationships/chartColorStyle" Target="colors245.xml"/><Relationship Id="rId3" Type="http://schemas.openxmlformats.org/officeDocument/2006/relationships/package" Target="../embeddings/Microsoft_Excel_Worksheet244.xlsx"/></Relationships>
</file>

<file path=ppt/charts/_rels/chart247.xml.rels><?xml version='1.0' encoding='UTF-8' standalone='yes'?>
<Relationships xmlns="http://schemas.openxmlformats.org/package/2006/relationships"><Relationship Id="rId1" Type="http://schemas.microsoft.com/office/2011/relationships/chartStyle" Target="style247.xml"/><Relationship Id="rId2" Type="http://schemas.microsoft.com/office/2011/relationships/chartColorStyle" Target="colors247.xml"/><Relationship Id="rId3"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microsoft.com/office/2011/relationships/chartStyle" Target="style248.xml"/><Relationship Id="rId2" Type="http://schemas.microsoft.com/office/2011/relationships/chartColorStyle" Target="colors248.xml"/><Relationship Id="rId3"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microsoft.com/office/2011/relationships/chartStyle" Target="style249.xml"/><Relationship Id="rId2" Type="http://schemas.microsoft.com/office/2011/relationships/chartColorStyle" Target="colors249.xml"/><Relationship Id="rId3"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51.xml.rels><?xml version='1.0' encoding='UTF-8' standalone='yes'?>
<Relationships xmlns="http://schemas.openxmlformats.org/package/2006/relationships"><Relationship Id="rId1" Type="http://schemas.microsoft.com/office/2011/relationships/chartStyle" Target="style251.xml"/><Relationship Id="rId2" Type="http://schemas.microsoft.com/office/2011/relationships/chartColorStyle" Target="colors251.xml"/><Relationship Id="rId3"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microsoft.com/office/2011/relationships/chartStyle" Target="style252.xml"/><Relationship Id="rId2" Type="http://schemas.microsoft.com/office/2011/relationships/chartColorStyle" Target="colors252.xml"/><Relationship Id="rId3"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microsoft.com/office/2011/relationships/chartStyle" Target="style253.xml"/><Relationship Id="rId2" Type="http://schemas.microsoft.com/office/2011/relationships/chartColorStyle" Target="colors253.xml"/><Relationship Id="rId3"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microsoft.com/office/2011/relationships/chartStyle" Target="style254.xml"/><Relationship Id="rId2" Type="http://schemas.microsoft.com/office/2011/relationships/chartColorStyle" Target="colors254.xml"/><Relationship Id="rId3" Type="http://schemas.openxmlformats.org/officeDocument/2006/relationships/package" Target="../embeddings/Microsoft_Excel_Worksheet253.xlsx"/></Relationships>
</file>

<file path=ppt/charts/_rels/chart256.xml.rels><?xml version='1.0' encoding='UTF-8' standalone='yes'?>
<Relationships xmlns="http://schemas.openxmlformats.org/package/2006/relationships"><Relationship Id="rId1" Type="http://schemas.microsoft.com/office/2011/relationships/chartStyle" Target="style256.xml"/><Relationship Id="rId2" Type="http://schemas.microsoft.com/office/2011/relationships/chartColorStyle" Target="colors256.xml"/><Relationship Id="rId3" Type="http://schemas.openxmlformats.org/officeDocument/2006/relationships/package" Target="../embeddings/Microsoft_Excel_Worksheet255.xlsx"/></Relationships>
</file>

<file path=ppt/charts/_rels/chart258.xml.rels><?xml version='1.0' encoding='UTF-8' standalone='yes'?>
<Relationships xmlns="http://schemas.openxmlformats.org/package/2006/relationships"><Relationship Id="rId1" Type="http://schemas.microsoft.com/office/2011/relationships/chartStyle" Target="style258.xml"/><Relationship Id="rId2" Type="http://schemas.microsoft.com/office/2011/relationships/chartColorStyle" Target="colors258.xml"/><Relationship Id="rId3"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microsoft.com/office/2011/relationships/chartStyle" Target="style259.xml"/><Relationship Id="rId2" Type="http://schemas.microsoft.com/office/2011/relationships/chartColorStyle" Target="colors259.xml"/><Relationship Id="rId3"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microsoft.com/office/2011/relationships/chartStyle" Target="style260.xml"/><Relationship Id="rId2" Type="http://schemas.microsoft.com/office/2011/relationships/chartColorStyle" Target="colors260.xml"/><Relationship Id="rId3" Type="http://schemas.openxmlformats.org/officeDocument/2006/relationships/package" Target="../embeddings/Microsoft_Excel_Worksheet259.xlsx"/></Relationships>
</file>

<file path=ppt/charts/_rels/chart262.xml.rels><?xml version='1.0' encoding='UTF-8' standalone='yes'?>
<Relationships xmlns="http://schemas.openxmlformats.org/package/2006/relationships"><Relationship Id="rId1" Type="http://schemas.microsoft.com/office/2011/relationships/chartStyle" Target="style262.xml"/><Relationship Id="rId2" Type="http://schemas.microsoft.com/office/2011/relationships/chartColorStyle" Target="colors262.xml"/><Relationship Id="rId3"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microsoft.com/office/2011/relationships/chartStyle" Target="style263.xml"/><Relationship Id="rId2" Type="http://schemas.microsoft.com/office/2011/relationships/chartColorStyle" Target="colors263.xml"/><Relationship Id="rId3"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microsoft.com/office/2011/relationships/chartStyle" Target="style264.xml"/><Relationship Id="rId2" Type="http://schemas.microsoft.com/office/2011/relationships/chartColorStyle" Target="colors264.xml"/><Relationship Id="rId3"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microsoft.com/office/2011/relationships/chartStyle" Target="style265.xml"/><Relationship Id="rId2" Type="http://schemas.microsoft.com/office/2011/relationships/chartColorStyle" Target="colors265.xml"/><Relationship Id="rId3"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microsoft.com/office/2011/relationships/chartStyle" Target="style266.xml"/><Relationship Id="rId2" Type="http://schemas.microsoft.com/office/2011/relationships/chartColorStyle" Target="colors266.xml"/><Relationship Id="rId3"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microsoft.com/office/2011/relationships/chartStyle" Target="style267.xml"/><Relationship Id="rId2" Type="http://schemas.microsoft.com/office/2011/relationships/chartColorStyle" Target="colors267.xml"/><Relationship Id="rId3" Type="http://schemas.openxmlformats.org/officeDocument/2006/relationships/package" Target="../embeddings/Microsoft_Excel_Worksheet266.xlsx"/></Relationships>
</file>

<file path=ppt/charts/_rels/chart269.xml.rels><?xml version='1.0' encoding='UTF-8' standalone='yes'?>
<Relationships xmlns="http://schemas.openxmlformats.org/package/2006/relationships"><Relationship Id="rId1" Type="http://schemas.microsoft.com/office/2011/relationships/chartStyle" Target="style269.xml"/><Relationship Id="rId2" Type="http://schemas.microsoft.com/office/2011/relationships/chartColorStyle" Target="colors269.xml"/><Relationship Id="rId3"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microsoft.com/office/2011/relationships/chartStyle" Target="style270.xml"/><Relationship Id="rId2" Type="http://schemas.microsoft.com/office/2011/relationships/chartColorStyle" Target="colors270.xml"/><Relationship Id="rId3"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microsoft.com/office/2011/relationships/chartStyle" Target="style271.xml"/><Relationship Id="rId2" Type="http://schemas.microsoft.com/office/2011/relationships/chartColorStyle" Target="colors271.xml"/><Relationship Id="rId3"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microsoft.com/office/2011/relationships/chartStyle" Target="style272.xml"/><Relationship Id="rId2" Type="http://schemas.microsoft.com/office/2011/relationships/chartColorStyle" Target="colors272.xml"/><Relationship Id="rId3"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microsoft.com/office/2011/relationships/chartStyle" Target="style273.xml"/><Relationship Id="rId2" Type="http://schemas.microsoft.com/office/2011/relationships/chartColorStyle" Target="colors273.xml"/><Relationship Id="rId3"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microsoft.com/office/2011/relationships/chartStyle" Target="style274.xml"/><Relationship Id="rId2" Type="http://schemas.microsoft.com/office/2011/relationships/chartColorStyle" Target="colors274.xml"/><Relationship Id="rId3"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microsoft.com/office/2011/relationships/chartStyle" Target="style275.xml"/><Relationship Id="rId2" Type="http://schemas.microsoft.com/office/2011/relationships/chartColorStyle" Target="colors275.xml"/><Relationship Id="rId3"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microsoft.com/office/2011/relationships/chartStyle" Target="style276.xml"/><Relationship Id="rId2" Type="http://schemas.microsoft.com/office/2011/relationships/chartColorStyle" Target="colors276.xml"/><Relationship Id="rId3"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microsoft.com/office/2011/relationships/chartStyle" Target="style277.xml"/><Relationship Id="rId2" Type="http://schemas.microsoft.com/office/2011/relationships/chartColorStyle" Target="colors277.xml"/><Relationship Id="rId3"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microsoft.com/office/2011/relationships/chartStyle" Target="style278.xml"/><Relationship Id="rId2" Type="http://schemas.microsoft.com/office/2011/relationships/chartColorStyle" Target="colors278.xml"/><Relationship Id="rId3" Type="http://schemas.openxmlformats.org/officeDocument/2006/relationships/package" Target="../embeddings/Microsoft_Excel_Worksheet277.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microsoft.com/office/2011/relationships/chartStyle" Target="style280.xml"/><Relationship Id="rId2" Type="http://schemas.microsoft.com/office/2011/relationships/chartColorStyle" Target="colors280.xml"/><Relationship Id="rId3"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microsoft.com/office/2011/relationships/chartStyle" Target="style281.xml"/><Relationship Id="rId2" Type="http://schemas.microsoft.com/office/2011/relationships/chartColorStyle" Target="colors281.xml"/><Relationship Id="rId3"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microsoft.com/office/2011/relationships/chartStyle" Target="style282.xml"/><Relationship Id="rId2" Type="http://schemas.microsoft.com/office/2011/relationships/chartColorStyle" Target="colors282.xml"/><Relationship Id="rId3"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microsoft.com/office/2011/relationships/chartStyle" Target="style283.xml"/><Relationship Id="rId2" Type="http://schemas.microsoft.com/office/2011/relationships/chartColorStyle" Target="colors283.xml"/><Relationship Id="rId3"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microsoft.com/office/2011/relationships/chartStyle" Target="style284.xml"/><Relationship Id="rId2" Type="http://schemas.microsoft.com/office/2011/relationships/chartColorStyle" Target="colors284.xml"/><Relationship Id="rId3"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microsoft.com/office/2011/relationships/chartStyle" Target="style285.xml"/><Relationship Id="rId2" Type="http://schemas.microsoft.com/office/2011/relationships/chartColorStyle" Target="colors285.xml"/><Relationship Id="rId3" Type="http://schemas.openxmlformats.org/officeDocument/2006/relationships/package" Target="../embeddings/Microsoft_Excel_Worksheet284.xlsx"/></Relationships>
</file>

<file path=ppt/charts/_rels/chart287.xml.rels><?xml version='1.0' encoding='UTF-8' standalone='yes'?>
<Relationships xmlns="http://schemas.openxmlformats.org/package/2006/relationships"><Relationship Id="rId1" Type="http://schemas.microsoft.com/office/2011/relationships/chartStyle" Target="style287.xml"/><Relationship Id="rId2" Type="http://schemas.microsoft.com/office/2011/relationships/chartColorStyle" Target="colors287.xml"/><Relationship Id="rId3"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microsoft.com/office/2011/relationships/chartStyle" Target="style288.xml"/><Relationship Id="rId2" Type="http://schemas.microsoft.com/office/2011/relationships/chartColorStyle" Target="colors288.xml"/><Relationship Id="rId3"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microsoft.com/office/2011/relationships/chartStyle" Target="style289.xml"/><Relationship Id="rId2" Type="http://schemas.microsoft.com/office/2011/relationships/chartColorStyle" Target="colors289.xml"/><Relationship Id="rId3"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291.xml.rels><?xml version='1.0' encoding='UTF-8' standalone='yes'?>
<Relationships xmlns="http://schemas.openxmlformats.org/package/2006/relationships"><Relationship Id="rId1" Type="http://schemas.microsoft.com/office/2011/relationships/chartStyle" Target="style291.xml"/><Relationship Id="rId2" Type="http://schemas.microsoft.com/office/2011/relationships/chartColorStyle" Target="colors291.xml"/><Relationship Id="rId3"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microsoft.com/office/2011/relationships/chartStyle" Target="style292.xml"/><Relationship Id="rId2" Type="http://schemas.microsoft.com/office/2011/relationships/chartColorStyle" Target="colors292.xml"/><Relationship Id="rId3"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microsoft.com/office/2011/relationships/chartStyle" Target="style293.xml"/><Relationship Id="rId2" Type="http://schemas.microsoft.com/office/2011/relationships/chartColorStyle" Target="colors293.xml"/><Relationship Id="rId3"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microsoft.com/office/2011/relationships/chartStyle" Target="style294.xml"/><Relationship Id="rId2" Type="http://schemas.microsoft.com/office/2011/relationships/chartColorStyle" Target="colors294.xml"/><Relationship Id="rId3"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microsoft.com/office/2011/relationships/chartStyle" Target="style295.xml"/><Relationship Id="rId2" Type="http://schemas.microsoft.com/office/2011/relationships/chartColorStyle" Target="colors295.xml"/><Relationship Id="rId3"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microsoft.com/office/2011/relationships/chartStyle" Target="style296.xml"/><Relationship Id="rId2" Type="http://schemas.microsoft.com/office/2011/relationships/chartColorStyle" Target="colors296.xml"/><Relationship Id="rId3"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microsoft.com/office/2011/relationships/chartStyle" Target="style297.xml"/><Relationship Id="rId2" Type="http://schemas.microsoft.com/office/2011/relationships/chartColorStyle" Target="colors297.xml"/><Relationship Id="rId3"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microsoft.com/office/2011/relationships/chartStyle" Target="style298.xml"/><Relationship Id="rId2" Type="http://schemas.microsoft.com/office/2011/relationships/chartColorStyle" Target="colors298.xml"/><Relationship Id="rId3"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microsoft.com/office/2011/relationships/chartStyle" Target="style299.xml"/><Relationship Id="rId2" Type="http://schemas.microsoft.com/office/2011/relationships/chartColorStyle" Target="colors299.xml"/><Relationship Id="rId3"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1.xml.rels><?xml version='1.0' encoding='UTF-8' standalone='yes'?>
<Relationships xmlns="http://schemas.openxmlformats.org/package/2006/relationships"><Relationship Id="rId1" Type="http://schemas.microsoft.com/office/2011/relationships/chartStyle" Target="style301.xml"/><Relationship Id="rId2" Type="http://schemas.microsoft.com/office/2011/relationships/chartColorStyle" Target="colors301.xml"/><Relationship Id="rId3"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microsoft.com/office/2011/relationships/chartStyle" Target="style302.xml"/><Relationship Id="rId2" Type="http://schemas.microsoft.com/office/2011/relationships/chartColorStyle" Target="colors302.xml"/><Relationship Id="rId3"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microsoft.com/office/2011/relationships/chartStyle" Target="style303.xml"/><Relationship Id="rId2" Type="http://schemas.microsoft.com/office/2011/relationships/chartColorStyle" Target="colors303.xml"/><Relationship Id="rId3" Type="http://schemas.openxmlformats.org/officeDocument/2006/relationships/package" Target="../embeddings/Microsoft_Excel_Worksheet302.xlsx"/></Relationships>
</file>

<file path=ppt/charts/_rels/chart305.xml.rels><?xml version='1.0' encoding='UTF-8' standalone='yes'?>
<Relationships xmlns="http://schemas.openxmlformats.org/package/2006/relationships"><Relationship Id="rId1" Type="http://schemas.microsoft.com/office/2011/relationships/chartStyle" Target="style305.xml"/><Relationship Id="rId2" Type="http://schemas.microsoft.com/office/2011/relationships/chartColorStyle" Target="colors305.xml"/><Relationship Id="rId3" Type="http://schemas.openxmlformats.org/officeDocument/2006/relationships/package" Target="../embeddings/Microsoft_Excel_Worksheet304.xlsx"/></Relationships>
</file>

<file path=ppt/charts/_rels/chart307.xml.rels><?xml version='1.0' encoding='UTF-8' standalone='yes'?>
<Relationships xmlns="http://schemas.openxmlformats.org/package/2006/relationships"><Relationship Id="rId1" Type="http://schemas.microsoft.com/office/2011/relationships/chartStyle" Target="style307.xml"/><Relationship Id="rId2" Type="http://schemas.microsoft.com/office/2011/relationships/chartColorStyle" Target="colors307.xml"/><Relationship Id="rId3"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microsoft.com/office/2011/relationships/chartStyle" Target="style308.xml"/><Relationship Id="rId2" Type="http://schemas.microsoft.com/office/2011/relationships/chartColorStyle" Target="colors308.xml"/><Relationship Id="rId3"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microsoft.com/office/2011/relationships/chartStyle" Target="style309.xml"/><Relationship Id="rId2" Type="http://schemas.microsoft.com/office/2011/relationships/chartColorStyle" Target="colors309.xml"/><Relationship Id="rId3"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microsoft.com/office/2011/relationships/chartStyle" Target="style310.xml"/><Relationship Id="rId2" Type="http://schemas.microsoft.com/office/2011/relationships/chartColorStyle" Target="colors310.xml"/><Relationship Id="rId3" Type="http://schemas.openxmlformats.org/officeDocument/2006/relationships/package" Target="../embeddings/Microsoft_Excel_Worksheet309.xlsx"/></Relationships>
</file>

<file path=ppt/charts/_rels/chart312.xml.rels><?xml version='1.0' encoding='UTF-8' standalone='yes'?>
<Relationships xmlns="http://schemas.openxmlformats.org/package/2006/relationships"><Relationship Id="rId1" Type="http://schemas.microsoft.com/office/2011/relationships/chartStyle" Target="style312.xml"/><Relationship Id="rId2" Type="http://schemas.microsoft.com/office/2011/relationships/chartColorStyle" Target="colors312.xml"/><Relationship Id="rId3"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microsoft.com/office/2011/relationships/chartStyle" Target="style313.xml"/><Relationship Id="rId2" Type="http://schemas.microsoft.com/office/2011/relationships/chartColorStyle" Target="colors313.xml"/><Relationship Id="rId3"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microsoft.com/office/2011/relationships/chartStyle" Target="style314.xml"/><Relationship Id="rId2" Type="http://schemas.microsoft.com/office/2011/relationships/chartColorStyle" Target="colors314.xml"/><Relationship Id="rId3" Type="http://schemas.openxmlformats.org/officeDocument/2006/relationships/package" Target="../embeddings/Microsoft_Excel_Worksheet313.xlsx"/></Relationships>
</file>

<file path=ppt/charts/_rels/chart316.xml.rels><?xml version='1.0' encoding='UTF-8' standalone='yes'?>
<Relationships xmlns="http://schemas.openxmlformats.org/package/2006/relationships"><Relationship Id="rId1" Type="http://schemas.microsoft.com/office/2011/relationships/chartStyle" Target="style316.xml"/><Relationship Id="rId2" Type="http://schemas.microsoft.com/office/2011/relationships/chartColorStyle" Target="colors316.xml"/><Relationship Id="rId3" Type="http://schemas.openxmlformats.org/officeDocument/2006/relationships/package" Target="../embeddings/Microsoft_Excel_Worksheet315.xlsx"/></Relationships>
</file>

<file path=ppt/charts/_rels/chart318.xml.rels><?xml version='1.0' encoding='UTF-8' standalone='yes'?>
<Relationships xmlns="http://schemas.openxmlformats.org/package/2006/relationships"><Relationship Id="rId1" Type="http://schemas.microsoft.com/office/2011/relationships/chartStyle" Target="style318.xml"/><Relationship Id="rId2" Type="http://schemas.microsoft.com/office/2011/relationships/chartColorStyle" Target="colors318.xml"/><Relationship Id="rId3"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microsoft.com/office/2011/relationships/chartStyle" Target="style319.xml"/><Relationship Id="rId2" Type="http://schemas.microsoft.com/office/2011/relationships/chartColorStyle" Target="colors319.xml"/><Relationship Id="rId3"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microsoft.com/office/2011/relationships/chartStyle" Target="style320.xml"/><Relationship Id="rId2" Type="http://schemas.microsoft.com/office/2011/relationships/chartColorStyle" Target="colors320.xml"/><Relationship Id="rId3"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microsoft.com/office/2011/relationships/chartStyle" Target="style321.xml"/><Relationship Id="rId2" Type="http://schemas.microsoft.com/office/2011/relationships/chartColorStyle" Target="colors321.xml"/><Relationship Id="rId3" Type="http://schemas.openxmlformats.org/officeDocument/2006/relationships/package" Target="../embeddings/Microsoft_Excel_Worksheet320.xlsx"/></Relationships>
</file>

<file path=ppt/charts/_rels/chart323.xml.rels><?xml version='1.0' encoding='UTF-8' standalone='yes'?>
<Relationships xmlns="http://schemas.openxmlformats.org/package/2006/relationships"><Relationship Id="rId1" Type="http://schemas.microsoft.com/office/2011/relationships/chartStyle" Target="style323.xml"/><Relationship Id="rId2" Type="http://schemas.microsoft.com/office/2011/relationships/chartColorStyle" Target="colors323.xml"/><Relationship Id="rId3"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microsoft.com/office/2011/relationships/chartStyle" Target="style324.xml"/><Relationship Id="rId2" Type="http://schemas.microsoft.com/office/2011/relationships/chartColorStyle" Target="colors324.xml"/><Relationship Id="rId3"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microsoft.com/office/2011/relationships/chartStyle" Target="style325.xml"/><Relationship Id="rId2" Type="http://schemas.microsoft.com/office/2011/relationships/chartColorStyle" Target="colors325.xml"/><Relationship Id="rId3"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microsoft.com/office/2011/relationships/chartStyle" Target="style326.xml"/><Relationship Id="rId2" Type="http://schemas.microsoft.com/office/2011/relationships/chartColorStyle" Target="colors326.xml"/><Relationship Id="rId3"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microsoft.com/office/2011/relationships/chartStyle" Target="style327.xml"/><Relationship Id="rId2" Type="http://schemas.microsoft.com/office/2011/relationships/chartColorStyle" Target="colors327.xml"/><Relationship Id="rId3" Type="http://schemas.openxmlformats.org/officeDocument/2006/relationships/package" Target="../embeddings/Microsoft_Excel_Worksheet326.xlsx"/></Relationships>
</file>

<file path=ppt/charts/_rels/chart329.xml.rels><?xml version='1.0' encoding='UTF-8' standalone='yes'?>
<Relationships xmlns="http://schemas.openxmlformats.org/package/2006/relationships"><Relationship Id="rId1" Type="http://schemas.microsoft.com/office/2011/relationships/chartStyle" Target="style329.xml"/><Relationship Id="rId2" Type="http://schemas.microsoft.com/office/2011/relationships/chartColorStyle" Target="colors329.xml"/><Relationship Id="rId3"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microsoft.com/office/2011/relationships/chartStyle" Target="style330.xml"/><Relationship Id="rId2" Type="http://schemas.microsoft.com/office/2011/relationships/chartColorStyle" Target="colors330.xml"/><Relationship Id="rId3"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microsoft.com/office/2011/relationships/chartStyle" Target="style331.xml"/><Relationship Id="rId2" Type="http://schemas.microsoft.com/office/2011/relationships/chartColorStyle" Target="colors331.xml"/><Relationship Id="rId3"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microsoft.com/office/2011/relationships/chartStyle" Target="style332.xml"/><Relationship Id="rId2" Type="http://schemas.microsoft.com/office/2011/relationships/chartColorStyle" Target="colors332.xml"/><Relationship Id="rId3" Type="http://schemas.openxmlformats.org/officeDocument/2006/relationships/package" Target="../embeddings/Microsoft_Excel_Worksheet331.xlsx"/></Relationships>
</file>

<file path=ppt/charts/_rels/chart334.xml.rels><?xml version='1.0' encoding='UTF-8' standalone='yes'?>
<Relationships xmlns="http://schemas.openxmlformats.org/package/2006/relationships"><Relationship Id="rId1" Type="http://schemas.microsoft.com/office/2011/relationships/chartStyle" Target="style334.xml"/><Relationship Id="rId2" Type="http://schemas.microsoft.com/office/2011/relationships/chartColorStyle" Target="colors334.xml"/><Relationship Id="rId3"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microsoft.com/office/2011/relationships/chartStyle" Target="style335.xml"/><Relationship Id="rId2" Type="http://schemas.microsoft.com/office/2011/relationships/chartColorStyle" Target="colors335.xml"/><Relationship Id="rId3"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microsoft.com/office/2011/relationships/chartStyle" Target="style336.xml"/><Relationship Id="rId2" Type="http://schemas.microsoft.com/office/2011/relationships/chartColorStyle" Target="colors336.xml"/><Relationship Id="rId3"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microsoft.com/office/2011/relationships/chartStyle" Target="style337.xml"/><Relationship Id="rId2" Type="http://schemas.microsoft.com/office/2011/relationships/chartColorStyle" Target="colors337.xml"/><Relationship Id="rId3"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microsoft.com/office/2011/relationships/chartStyle" Target="style338.xml"/><Relationship Id="rId2" Type="http://schemas.microsoft.com/office/2011/relationships/chartColorStyle" Target="colors338.xml"/><Relationship Id="rId3"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microsoft.com/office/2011/relationships/chartStyle" Target="style339.xml"/><Relationship Id="rId2" Type="http://schemas.microsoft.com/office/2011/relationships/chartColorStyle" Target="colors339.xml"/><Relationship Id="rId3" Type="http://schemas.openxmlformats.org/officeDocument/2006/relationships/package" Target="../embeddings/Microsoft_Excel_Worksheet338.xlsx"/></Relationships>
</file>

<file path=ppt/charts/_rels/chart340.xml.rels><?xml version='1.0' encoding='UTF-8' standalone='yes'?>
<Relationships xmlns="http://schemas.openxmlformats.org/package/2006/relationships"><Relationship Id="rId1" Type="http://schemas.microsoft.com/office/2011/relationships/chartStyle" Target="style340.xml"/><Relationship Id="rId2" Type="http://schemas.microsoft.com/office/2011/relationships/chartColorStyle" Target="colors340.xml"/><Relationship Id="rId3"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microsoft.com/office/2011/relationships/chartStyle" Target="style341.xml"/><Relationship Id="rId2" Type="http://schemas.microsoft.com/office/2011/relationships/chartColorStyle" Target="colors341.xml"/><Relationship Id="rId3"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microsoft.com/office/2011/relationships/chartStyle" Target="style342.xml"/><Relationship Id="rId2" Type="http://schemas.microsoft.com/office/2011/relationships/chartColorStyle" Target="colors342.xml"/><Relationship Id="rId3"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microsoft.com/office/2011/relationships/chartStyle" Target="style343.xml"/><Relationship Id="rId2" Type="http://schemas.microsoft.com/office/2011/relationships/chartColorStyle" Target="colors343.xml"/><Relationship Id="rId3" Type="http://schemas.openxmlformats.org/officeDocument/2006/relationships/package" Target="../embeddings/Microsoft_Excel_Worksheet342.xlsx"/></Relationships>
</file>

<file path=ppt/charts/_rels/chart345.xml.rels><?xml version='1.0' encoding='UTF-8' standalone='yes'?>
<Relationships xmlns="http://schemas.openxmlformats.org/package/2006/relationships"><Relationship Id="rId1" Type="http://schemas.microsoft.com/office/2011/relationships/chartStyle" Target="style345.xml"/><Relationship Id="rId2" Type="http://schemas.microsoft.com/office/2011/relationships/chartColorStyle" Target="colors345.xml"/><Relationship Id="rId3" Type="http://schemas.openxmlformats.org/officeDocument/2006/relationships/package" Target="../embeddings/Microsoft_Excel_Worksheet344.xlsx"/></Relationships>
</file>

<file path=ppt/charts/_rels/chart347.xml.rels><?xml version='1.0' encoding='UTF-8' standalone='yes'?>
<Relationships xmlns="http://schemas.openxmlformats.org/package/2006/relationships"><Relationship Id="rId1" Type="http://schemas.microsoft.com/office/2011/relationships/chartStyle" Target="style347.xml"/><Relationship Id="rId2" Type="http://schemas.microsoft.com/office/2011/relationships/chartColorStyle" Target="colors347.xml"/><Relationship Id="rId3"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microsoft.com/office/2011/relationships/chartStyle" Target="style348.xml"/><Relationship Id="rId2" Type="http://schemas.microsoft.com/office/2011/relationships/chartColorStyle" Target="colors348.xml"/><Relationship Id="rId3"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microsoft.com/office/2011/relationships/chartStyle" Target="style349.xml"/><Relationship Id="rId2" Type="http://schemas.microsoft.com/office/2011/relationships/chartColorStyle" Target="colors349.xml"/><Relationship Id="rId3"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microsoft.com/office/2011/relationships/chartStyle" Target="style350.xml"/><Relationship Id="rId2" Type="http://schemas.microsoft.com/office/2011/relationships/chartColorStyle" Target="colors350.xml"/><Relationship Id="rId3"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microsoft.com/office/2011/relationships/chartStyle" Target="style351.xml"/><Relationship Id="rId2" Type="http://schemas.microsoft.com/office/2011/relationships/chartColorStyle" Target="colors351.xml"/><Relationship Id="rId3"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microsoft.com/office/2011/relationships/chartStyle" Target="style352.xml"/><Relationship Id="rId2" Type="http://schemas.microsoft.com/office/2011/relationships/chartColorStyle" Target="colors352.xml"/><Relationship Id="rId3"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microsoft.com/office/2011/relationships/chartStyle" Target="style353.xml"/><Relationship Id="rId2" Type="http://schemas.microsoft.com/office/2011/relationships/chartColorStyle" Target="colors353.xml"/><Relationship Id="rId3"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microsoft.com/office/2011/relationships/chartStyle" Target="style354.xml"/><Relationship Id="rId2" Type="http://schemas.microsoft.com/office/2011/relationships/chartColorStyle" Target="colors354.xml"/><Relationship Id="rId3" Type="http://schemas.openxmlformats.org/officeDocument/2006/relationships/package" Target="../embeddings/Microsoft_Excel_Worksheet353.xlsx"/></Relationships>
</file>

<file path=ppt/charts/_rels/chart356.xml.rels><?xml version='1.0' encoding='UTF-8' standalone='yes'?>
<Relationships xmlns="http://schemas.openxmlformats.org/package/2006/relationships"><Relationship Id="rId1" Type="http://schemas.microsoft.com/office/2011/relationships/chartStyle" Target="style356.xml"/><Relationship Id="rId2" Type="http://schemas.microsoft.com/office/2011/relationships/chartColorStyle" Target="colors356.xml"/><Relationship Id="rId3" Type="http://schemas.openxmlformats.org/officeDocument/2006/relationships/package" Target="../embeddings/Microsoft_Excel_Worksheet355.xlsx"/></Relationships>
</file>

<file path=ppt/charts/_rels/chart358.xml.rels><?xml version='1.0' encoding='UTF-8' standalone='yes'?>
<Relationships xmlns="http://schemas.openxmlformats.org/package/2006/relationships"><Relationship Id="rId1" Type="http://schemas.microsoft.com/office/2011/relationships/chartStyle" Target="style358.xml"/><Relationship Id="rId2" Type="http://schemas.microsoft.com/office/2011/relationships/chartColorStyle" Target="colors358.xml"/><Relationship Id="rId3"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microsoft.com/office/2011/relationships/chartStyle" Target="style359.xml"/><Relationship Id="rId2" Type="http://schemas.microsoft.com/office/2011/relationships/chartColorStyle" Target="colors359.xml"/><Relationship Id="rId3"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microsoft.com/office/2011/relationships/chartStyle" Target="style360.xml"/><Relationship Id="rId2" Type="http://schemas.microsoft.com/office/2011/relationships/chartColorStyle" Target="colors360.xml"/><Relationship Id="rId3"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microsoft.com/office/2011/relationships/chartStyle" Target="style361.xml"/><Relationship Id="rId2" Type="http://schemas.microsoft.com/office/2011/relationships/chartColorStyle" Target="colors361.xml"/><Relationship Id="rId3"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microsoft.com/office/2011/relationships/chartStyle" Target="style362.xml"/><Relationship Id="rId2" Type="http://schemas.microsoft.com/office/2011/relationships/chartColorStyle" Target="colors362.xml"/><Relationship Id="rId3"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microsoft.com/office/2011/relationships/chartStyle" Target="style363.xml"/><Relationship Id="rId2" Type="http://schemas.microsoft.com/office/2011/relationships/chartColorStyle" Target="colors363.xml"/><Relationship Id="rId3"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microsoft.com/office/2011/relationships/chartStyle" Target="style364.xml"/><Relationship Id="rId2" Type="http://schemas.microsoft.com/office/2011/relationships/chartColorStyle" Target="colors364.xml"/><Relationship Id="rId3"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microsoft.com/office/2011/relationships/chartStyle" Target="style365.xml"/><Relationship Id="rId2" Type="http://schemas.microsoft.com/office/2011/relationships/chartColorStyle" Target="colors365.xml"/><Relationship Id="rId3"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microsoft.com/office/2011/relationships/chartStyle" Target="style366.xml"/><Relationship Id="rId2" Type="http://schemas.microsoft.com/office/2011/relationships/chartColorStyle" Target="colors366.xml"/><Relationship Id="rId3"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microsoft.com/office/2011/relationships/chartStyle" Target="style367.xml"/><Relationship Id="rId2" Type="http://schemas.microsoft.com/office/2011/relationships/chartColorStyle" Target="colors367.xml"/><Relationship Id="rId3" Type="http://schemas.openxmlformats.org/officeDocument/2006/relationships/package" Target="../embeddings/Microsoft_Excel_Worksheet366.xlsx"/></Relationships>
</file>

<file path=ppt/charts/_rels/chart369.xml.rels><?xml version='1.0' encoding='UTF-8' standalone='yes'?>
<Relationships xmlns="http://schemas.openxmlformats.org/package/2006/relationships"><Relationship Id="rId1" Type="http://schemas.microsoft.com/office/2011/relationships/chartStyle" Target="style369.xml"/><Relationship Id="rId2" Type="http://schemas.microsoft.com/office/2011/relationships/chartColorStyle" Target="colors369.xml"/><Relationship Id="rId3"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microsoft.com/office/2011/relationships/chartStyle" Target="style370.xml"/><Relationship Id="rId2" Type="http://schemas.microsoft.com/office/2011/relationships/chartColorStyle" Target="colors370.xml"/><Relationship Id="rId3"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microsoft.com/office/2011/relationships/chartStyle" Target="style371.xml"/><Relationship Id="rId2" Type="http://schemas.microsoft.com/office/2011/relationships/chartColorStyle" Target="colors371.xml"/><Relationship Id="rId3"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microsoft.com/office/2011/relationships/chartStyle" Target="style372.xml"/><Relationship Id="rId2" Type="http://schemas.microsoft.com/office/2011/relationships/chartColorStyle" Target="colors372.xml"/><Relationship Id="rId3"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microsoft.com/office/2011/relationships/chartStyle" Target="style373.xml"/><Relationship Id="rId2" Type="http://schemas.microsoft.com/office/2011/relationships/chartColorStyle" Target="colors373.xml"/><Relationship Id="rId3"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microsoft.com/office/2011/relationships/chartStyle" Target="style374.xml"/><Relationship Id="rId2" Type="http://schemas.microsoft.com/office/2011/relationships/chartColorStyle" Target="colors374.xml"/><Relationship Id="rId3"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microsoft.com/office/2011/relationships/chartStyle" Target="style375.xml"/><Relationship Id="rId2" Type="http://schemas.microsoft.com/office/2011/relationships/chartColorStyle" Target="colors375.xml"/><Relationship Id="rId3"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microsoft.com/office/2011/relationships/chartStyle" Target="style376.xml"/><Relationship Id="rId2" Type="http://schemas.microsoft.com/office/2011/relationships/chartColorStyle" Target="colors376.xml"/><Relationship Id="rId3"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microsoft.com/office/2011/relationships/chartStyle" Target="style377.xml"/><Relationship Id="rId2" Type="http://schemas.microsoft.com/office/2011/relationships/chartColorStyle" Target="colors377.xml"/><Relationship Id="rId3"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microsoft.com/office/2011/relationships/chartStyle" Target="style378.xml"/><Relationship Id="rId2" Type="http://schemas.microsoft.com/office/2011/relationships/chartColorStyle" Target="colors378.xml"/><Relationship Id="rId3" Type="http://schemas.openxmlformats.org/officeDocument/2006/relationships/package" Target="../embeddings/Microsoft_Excel_Worksheet377.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microsoft.com/office/2011/relationships/chartStyle" Target="style380.xml"/><Relationship Id="rId2" Type="http://schemas.microsoft.com/office/2011/relationships/chartColorStyle" Target="colors380.xml"/><Relationship Id="rId3"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microsoft.com/office/2011/relationships/chartStyle" Target="style381.xml"/><Relationship Id="rId2" Type="http://schemas.microsoft.com/office/2011/relationships/chartColorStyle" Target="colors381.xml"/><Relationship Id="rId3"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microsoft.com/office/2011/relationships/chartStyle" Target="style382.xml"/><Relationship Id="rId2" Type="http://schemas.microsoft.com/office/2011/relationships/chartColorStyle" Target="colors382.xml"/><Relationship Id="rId3"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microsoft.com/office/2011/relationships/chartStyle" Target="style383.xml"/><Relationship Id="rId2" Type="http://schemas.microsoft.com/office/2011/relationships/chartColorStyle" Target="colors383.xml"/><Relationship Id="rId3" Type="http://schemas.openxmlformats.org/officeDocument/2006/relationships/package" Target="../embeddings/Microsoft_Excel_Worksheet382.xlsx"/></Relationships>
</file>

<file path=ppt/charts/_rels/chart385.xml.rels><?xml version='1.0' encoding='UTF-8' standalone='yes'?>
<Relationships xmlns="http://schemas.openxmlformats.org/package/2006/relationships"><Relationship Id="rId1" Type="http://schemas.microsoft.com/office/2011/relationships/chartStyle" Target="style385.xml"/><Relationship Id="rId2" Type="http://schemas.microsoft.com/office/2011/relationships/chartColorStyle" Target="colors385.xml"/><Relationship Id="rId3" Type="http://schemas.openxmlformats.org/officeDocument/2006/relationships/package" Target="../embeddings/Microsoft_Excel_Worksheet384.xlsx"/></Relationships>
</file>

<file path=ppt/charts/_rels/chart387.xml.rels><?xml version='1.0' encoding='UTF-8' standalone='yes'?>
<Relationships xmlns="http://schemas.openxmlformats.org/package/2006/relationships"><Relationship Id="rId1" Type="http://schemas.microsoft.com/office/2011/relationships/chartStyle" Target="style387.xml"/><Relationship Id="rId2" Type="http://schemas.microsoft.com/office/2011/relationships/chartColorStyle" Target="colors387.xml"/><Relationship Id="rId3"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microsoft.com/office/2011/relationships/chartStyle" Target="style388.xml"/><Relationship Id="rId2" Type="http://schemas.microsoft.com/office/2011/relationships/chartColorStyle" Target="colors388.xml"/><Relationship Id="rId3"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microsoft.com/office/2011/relationships/chartStyle" Target="style389.xml"/><Relationship Id="rId2" Type="http://schemas.microsoft.com/office/2011/relationships/chartColorStyle" Target="colors389.xml"/><Relationship Id="rId3"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391.xml.rels><?xml version='1.0' encoding='UTF-8' standalone='yes'?>
<Relationships xmlns="http://schemas.openxmlformats.org/package/2006/relationships"><Relationship Id="rId1" Type="http://schemas.microsoft.com/office/2011/relationships/chartStyle" Target="style391.xml"/><Relationship Id="rId2" Type="http://schemas.microsoft.com/office/2011/relationships/chartColorStyle" Target="colors391.xml"/><Relationship Id="rId3"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microsoft.com/office/2011/relationships/chartStyle" Target="style392.xml"/><Relationship Id="rId2" Type="http://schemas.microsoft.com/office/2011/relationships/chartColorStyle" Target="colors392.xml"/><Relationship Id="rId3"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microsoft.com/office/2011/relationships/chartStyle" Target="style393.xml"/><Relationship Id="rId2" Type="http://schemas.microsoft.com/office/2011/relationships/chartColorStyle" Target="colors393.xml"/><Relationship Id="rId3"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microsoft.com/office/2011/relationships/chartStyle" Target="style394.xml"/><Relationship Id="rId2" Type="http://schemas.microsoft.com/office/2011/relationships/chartColorStyle" Target="colors394.xml"/><Relationship Id="rId3" Type="http://schemas.openxmlformats.org/officeDocument/2006/relationships/package" Target="../embeddings/Microsoft_Excel_Worksheet393.xlsx"/></Relationships>
</file>

<file path=ppt/charts/_rels/chart396.xml.rels><?xml version='1.0' encoding='UTF-8' standalone='yes'?>
<Relationships xmlns="http://schemas.openxmlformats.org/package/2006/relationships"><Relationship Id="rId1" Type="http://schemas.microsoft.com/office/2011/relationships/chartStyle" Target="style396.xml"/><Relationship Id="rId2" Type="http://schemas.microsoft.com/office/2011/relationships/chartColorStyle" Target="colors396.xml"/><Relationship Id="rId3"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microsoft.com/office/2011/relationships/chartStyle" Target="style397.xml"/><Relationship Id="rId2" Type="http://schemas.microsoft.com/office/2011/relationships/chartColorStyle" Target="colors397.xml"/><Relationship Id="rId3"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microsoft.com/office/2011/relationships/chartStyle" Target="style398.xml"/><Relationship Id="rId2" Type="http://schemas.microsoft.com/office/2011/relationships/chartColorStyle" Target="colors398.xml"/><Relationship Id="rId3"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microsoft.com/office/2011/relationships/chartStyle" Target="style399.xml"/><Relationship Id="rId2" Type="http://schemas.microsoft.com/office/2011/relationships/chartColorStyle" Target="colors399.xml"/><Relationship Id="rId3"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01.xml.rels><?xml version='1.0' encoding='UTF-8' standalone='yes'?>
<Relationships xmlns="http://schemas.openxmlformats.org/package/2006/relationships"><Relationship Id="rId1" Type="http://schemas.microsoft.com/office/2011/relationships/chartStyle" Target="style401.xml"/><Relationship Id="rId2" Type="http://schemas.microsoft.com/office/2011/relationships/chartColorStyle" Target="colors401.xml"/><Relationship Id="rId3"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microsoft.com/office/2011/relationships/chartStyle" Target="style402.xml"/><Relationship Id="rId2" Type="http://schemas.microsoft.com/office/2011/relationships/chartColorStyle" Target="colors402.xml"/><Relationship Id="rId3"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microsoft.com/office/2011/relationships/chartStyle" Target="style403.xml"/><Relationship Id="rId2" Type="http://schemas.microsoft.com/office/2011/relationships/chartColorStyle" Target="colors403.xml"/><Relationship Id="rId3" Type="http://schemas.openxmlformats.org/officeDocument/2006/relationships/package" Target="../embeddings/Microsoft_Excel_Worksheet402.xlsx"/></Relationships>
</file>

<file path=ppt/charts/_rels/chart405.xml.rels><?xml version='1.0' encoding='UTF-8' standalone='yes'?>
<Relationships xmlns="http://schemas.openxmlformats.org/package/2006/relationships"><Relationship Id="rId1" Type="http://schemas.microsoft.com/office/2011/relationships/chartStyle" Target="style405.xml"/><Relationship Id="rId2" Type="http://schemas.microsoft.com/office/2011/relationships/chartColorStyle" Target="colors405.xml"/><Relationship Id="rId3"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microsoft.com/office/2011/relationships/chartStyle" Target="style406.xml"/><Relationship Id="rId2" Type="http://schemas.microsoft.com/office/2011/relationships/chartColorStyle" Target="colors406.xml"/><Relationship Id="rId3"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microsoft.com/office/2011/relationships/chartStyle" Target="style407.xml"/><Relationship Id="rId2" Type="http://schemas.microsoft.com/office/2011/relationships/chartColorStyle" Target="colors407.xml"/><Relationship Id="rId3"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microsoft.com/office/2011/relationships/chartStyle" Target="style408.xml"/><Relationship Id="rId2" Type="http://schemas.microsoft.com/office/2011/relationships/chartColorStyle" Target="colors408.xml"/><Relationship Id="rId3"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microsoft.com/office/2011/relationships/chartStyle" Target="style409.xml"/><Relationship Id="rId2" Type="http://schemas.microsoft.com/office/2011/relationships/chartColorStyle" Target="colors409.xml"/><Relationship Id="rId3" Type="http://schemas.openxmlformats.org/officeDocument/2006/relationships/package" Target="../embeddings/Microsoft_Excel_Worksheet408.xlsx"/></Relationships>
</file>

<file path=ppt/charts/_rels/chart410.xml.rels><?xml version='1.0' encoding='UTF-8' standalone='yes'?>
<Relationships xmlns="http://schemas.openxmlformats.org/package/2006/relationships"><Relationship Id="rId1" Type="http://schemas.microsoft.com/office/2011/relationships/chartStyle" Target="style410.xml"/><Relationship Id="rId2" Type="http://schemas.microsoft.com/office/2011/relationships/chartColorStyle" Target="colors410.xml"/><Relationship Id="rId3" Type="http://schemas.openxmlformats.org/officeDocument/2006/relationships/package" Target="../embeddings/Microsoft_Excel_Worksheet409.xlsx"/></Relationships>
</file>

<file path=ppt/charts/_rels/chart412.xml.rels><?xml version='1.0' encoding='UTF-8' standalone='yes'?>
<Relationships xmlns="http://schemas.openxmlformats.org/package/2006/relationships"><Relationship Id="rId1" Type="http://schemas.microsoft.com/office/2011/relationships/chartStyle" Target="style412.xml"/><Relationship Id="rId2" Type="http://schemas.microsoft.com/office/2011/relationships/chartColorStyle" Target="colors412.xml"/><Relationship Id="rId3"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microsoft.com/office/2011/relationships/chartStyle" Target="style413.xml"/><Relationship Id="rId2" Type="http://schemas.microsoft.com/office/2011/relationships/chartColorStyle" Target="colors413.xml"/><Relationship Id="rId3"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microsoft.com/office/2011/relationships/chartStyle" Target="style414.xml"/><Relationship Id="rId2" Type="http://schemas.microsoft.com/office/2011/relationships/chartColorStyle" Target="colors414.xml"/><Relationship Id="rId3" Type="http://schemas.openxmlformats.org/officeDocument/2006/relationships/package" Target="../embeddings/Microsoft_Excel_Worksheet413.xlsx"/></Relationships>
</file>

<file path=ppt/charts/_rels/chart416.xml.rels><?xml version='1.0' encoding='UTF-8' standalone='yes'?>
<Relationships xmlns="http://schemas.openxmlformats.org/package/2006/relationships"><Relationship Id="rId1" Type="http://schemas.microsoft.com/office/2011/relationships/chartStyle" Target="style416.xml"/><Relationship Id="rId2" Type="http://schemas.microsoft.com/office/2011/relationships/chartColorStyle" Target="colors416.xml"/><Relationship Id="rId3"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microsoft.com/office/2011/relationships/chartStyle" Target="style417.xml"/><Relationship Id="rId2" Type="http://schemas.microsoft.com/office/2011/relationships/chartColorStyle" Target="colors417.xml"/><Relationship Id="rId3"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microsoft.com/office/2011/relationships/chartStyle" Target="style418.xml"/><Relationship Id="rId2" Type="http://schemas.microsoft.com/office/2011/relationships/chartColorStyle" Target="colors418.xml"/><Relationship Id="rId3"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microsoft.com/office/2011/relationships/chartStyle" Target="style419.xml"/><Relationship Id="rId2" Type="http://schemas.microsoft.com/office/2011/relationships/chartColorStyle" Target="colors419.xml"/><Relationship Id="rId3"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microsoft.com/office/2011/relationships/chartStyle" Target="style420.xml"/><Relationship Id="rId2" Type="http://schemas.microsoft.com/office/2011/relationships/chartColorStyle" Target="colors420.xml"/><Relationship Id="rId3"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microsoft.com/office/2011/relationships/chartStyle" Target="style421.xml"/><Relationship Id="rId2" Type="http://schemas.microsoft.com/office/2011/relationships/chartColorStyle" Target="colors421.xml"/><Relationship Id="rId3" Type="http://schemas.openxmlformats.org/officeDocument/2006/relationships/package" Target="../embeddings/Microsoft_Excel_Worksheet420.xlsx"/></Relationships>
</file>

<file path=ppt/charts/_rels/chart423.xml.rels><?xml version='1.0' encoding='UTF-8' standalone='yes'?>
<Relationships xmlns="http://schemas.openxmlformats.org/package/2006/relationships"><Relationship Id="rId1" Type="http://schemas.microsoft.com/office/2011/relationships/chartStyle" Target="style423.xml"/><Relationship Id="rId2" Type="http://schemas.microsoft.com/office/2011/relationships/chartColorStyle" Target="colors423.xml"/><Relationship Id="rId3"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microsoft.com/office/2011/relationships/chartStyle" Target="style424.xml"/><Relationship Id="rId2" Type="http://schemas.microsoft.com/office/2011/relationships/chartColorStyle" Target="colors424.xml"/><Relationship Id="rId3"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microsoft.com/office/2011/relationships/chartStyle" Target="style425.xml"/><Relationship Id="rId2" Type="http://schemas.microsoft.com/office/2011/relationships/chartColorStyle" Target="colors425.xml"/><Relationship Id="rId3"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microsoft.com/office/2011/relationships/chartStyle" Target="style426.xml"/><Relationship Id="rId2" Type="http://schemas.microsoft.com/office/2011/relationships/chartColorStyle" Target="colors426.xml"/><Relationship Id="rId3"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microsoft.com/office/2011/relationships/chartStyle" Target="style427.xml"/><Relationship Id="rId2" Type="http://schemas.microsoft.com/office/2011/relationships/chartColorStyle" Target="colors427.xml"/><Relationship Id="rId3"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microsoft.com/office/2011/relationships/chartStyle" Target="style428.xml"/><Relationship Id="rId2" Type="http://schemas.microsoft.com/office/2011/relationships/chartColorStyle" Target="colors428.xml"/><Relationship Id="rId3"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microsoft.com/office/2011/relationships/chartStyle" Target="style429.xml"/><Relationship Id="rId2" Type="http://schemas.microsoft.com/office/2011/relationships/chartColorStyle" Target="colors429.xml"/><Relationship Id="rId3"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microsoft.com/office/2011/relationships/chartStyle" Target="style430.xml"/><Relationship Id="rId2" Type="http://schemas.microsoft.com/office/2011/relationships/chartColorStyle" Target="colors430.xml"/><Relationship Id="rId3"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microsoft.com/office/2011/relationships/chartStyle" Target="style431.xml"/><Relationship Id="rId2" Type="http://schemas.microsoft.com/office/2011/relationships/chartColorStyle" Target="colors431.xml"/><Relationship Id="rId3"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microsoft.com/office/2011/relationships/chartStyle" Target="style432.xml"/><Relationship Id="rId2" Type="http://schemas.microsoft.com/office/2011/relationships/chartColorStyle" Target="colors432.xml"/><Relationship Id="rId3" Type="http://schemas.openxmlformats.org/officeDocument/2006/relationships/package" Target="../embeddings/Microsoft_Excel_Worksheet431.xlsx"/></Relationships>
</file>

<file path=ppt/charts/_rels/chart434.xml.rels><?xml version='1.0' encoding='UTF-8' standalone='yes'?>
<Relationships xmlns="http://schemas.openxmlformats.org/package/2006/relationships"><Relationship Id="rId1" Type="http://schemas.microsoft.com/office/2011/relationships/chartStyle" Target="style434.xml"/><Relationship Id="rId2" Type="http://schemas.microsoft.com/office/2011/relationships/chartColorStyle" Target="colors434.xml"/><Relationship Id="rId3"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microsoft.com/office/2011/relationships/chartStyle" Target="style435.xml"/><Relationship Id="rId2" Type="http://schemas.microsoft.com/office/2011/relationships/chartColorStyle" Target="colors435.xml"/><Relationship Id="rId3"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microsoft.com/office/2011/relationships/chartStyle" Target="style436.xml"/><Relationship Id="rId2" Type="http://schemas.microsoft.com/office/2011/relationships/chartColorStyle" Target="colors436.xml"/><Relationship Id="rId3"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microsoft.com/office/2011/relationships/chartStyle" Target="style437.xml"/><Relationship Id="rId2" Type="http://schemas.microsoft.com/office/2011/relationships/chartColorStyle" Target="colors437.xml"/><Relationship Id="rId3"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microsoft.com/office/2011/relationships/chartStyle" Target="style438.xml"/><Relationship Id="rId2" Type="http://schemas.microsoft.com/office/2011/relationships/chartColorStyle" Target="colors438.xml"/><Relationship Id="rId3"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microsoft.com/office/2011/relationships/chartStyle" Target="style439.xml"/><Relationship Id="rId2" Type="http://schemas.microsoft.com/office/2011/relationships/chartColorStyle" Target="colors439.xml"/><Relationship Id="rId3"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41.xml.rels><?xml version='1.0' encoding='UTF-8' standalone='yes'?>
<Relationships xmlns="http://schemas.openxmlformats.org/package/2006/relationships"><Relationship Id="rId1" Type="http://schemas.microsoft.com/office/2011/relationships/chartStyle" Target="style441.xml"/><Relationship Id="rId2" Type="http://schemas.microsoft.com/office/2011/relationships/chartColorStyle" Target="colors441.xml"/><Relationship Id="rId3"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microsoft.com/office/2011/relationships/chartStyle" Target="style442.xml"/><Relationship Id="rId2" Type="http://schemas.microsoft.com/office/2011/relationships/chartColorStyle" Target="colors442.xml"/><Relationship Id="rId3"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microsoft.com/office/2011/relationships/chartStyle" Target="style443.xml"/><Relationship Id="rId2" Type="http://schemas.microsoft.com/office/2011/relationships/chartColorStyle" Target="colors443.xml"/><Relationship Id="rId3" Type="http://schemas.openxmlformats.org/officeDocument/2006/relationships/package" Target="../embeddings/Microsoft_Excel_Worksheet442.xlsx"/></Relationships>
</file>

<file path=ppt/charts/_rels/chart445.xml.rels><?xml version='1.0' encoding='UTF-8' standalone='yes'?>
<Relationships xmlns="http://schemas.openxmlformats.org/package/2006/relationships"><Relationship Id="rId1" Type="http://schemas.microsoft.com/office/2011/relationships/chartStyle" Target="style445.xml"/><Relationship Id="rId2" Type="http://schemas.microsoft.com/office/2011/relationships/chartColorStyle" Target="colors445.xml"/><Relationship Id="rId3" Type="http://schemas.openxmlformats.org/officeDocument/2006/relationships/package" Target="../embeddings/Microsoft_Excel_Worksheet444.xlsx"/></Relationships>
</file>

<file path=ppt/charts/_rels/chart447.xml.rels><?xml version='1.0' encoding='UTF-8' standalone='yes'?>
<Relationships xmlns="http://schemas.openxmlformats.org/package/2006/relationships"><Relationship Id="rId1" Type="http://schemas.microsoft.com/office/2011/relationships/chartStyle" Target="style447.xml"/><Relationship Id="rId2" Type="http://schemas.microsoft.com/office/2011/relationships/chartColorStyle" Target="colors447.xml"/><Relationship Id="rId3"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microsoft.com/office/2011/relationships/chartStyle" Target="style448.xml"/><Relationship Id="rId2" Type="http://schemas.microsoft.com/office/2011/relationships/chartColorStyle" Target="colors448.xml"/><Relationship Id="rId3"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microsoft.com/office/2011/relationships/chartStyle" Target="style449.xml"/><Relationship Id="rId2" Type="http://schemas.microsoft.com/office/2011/relationships/chartColorStyle" Target="colors449.xml"/><Relationship Id="rId3" Type="http://schemas.openxmlformats.org/officeDocument/2006/relationships/package" Target="../embeddings/Microsoft_Excel_Worksheet448.xlsx"/></Relationships>
</file>

<file path=ppt/charts/_rels/chart450.xml.rels><?xml version='1.0' encoding='UTF-8' standalone='yes'?>
<Relationships xmlns="http://schemas.openxmlformats.org/package/2006/relationships"><Relationship Id="rId1" Type="http://schemas.microsoft.com/office/2011/relationships/chartStyle" Target="style450.xml"/><Relationship Id="rId2" Type="http://schemas.microsoft.com/office/2011/relationships/chartColorStyle" Target="colors450.xml"/><Relationship Id="rId3" Type="http://schemas.openxmlformats.org/officeDocument/2006/relationships/package" Target="../embeddings/Microsoft_Excel_Worksheet449.xlsx"/></Relationships>
</file>

<file path=ppt/charts/_rels/chart452.xml.rels><?xml version='1.0' encoding='UTF-8' standalone='yes'?>
<Relationships xmlns="http://schemas.openxmlformats.org/package/2006/relationships"><Relationship Id="rId1" Type="http://schemas.microsoft.com/office/2011/relationships/chartStyle" Target="style452.xml"/><Relationship Id="rId2" Type="http://schemas.microsoft.com/office/2011/relationships/chartColorStyle" Target="colors452.xml"/><Relationship Id="rId3"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microsoft.com/office/2011/relationships/chartStyle" Target="style453.xml"/><Relationship Id="rId2" Type="http://schemas.microsoft.com/office/2011/relationships/chartColorStyle" Target="colors453.xml"/><Relationship Id="rId3"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microsoft.com/office/2011/relationships/chartStyle" Target="style454.xml"/><Relationship Id="rId2" Type="http://schemas.microsoft.com/office/2011/relationships/chartColorStyle" Target="colors454.xml"/><Relationship Id="rId3" Type="http://schemas.openxmlformats.org/officeDocument/2006/relationships/package" Target="../embeddings/Microsoft_Excel_Worksheet453.xlsx"/></Relationships>
</file>

<file path=ppt/charts/_rels/chart456.xml.rels><?xml version='1.0' encoding='UTF-8' standalone='yes'?>
<Relationships xmlns="http://schemas.openxmlformats.org/package/2006/relationships"><Relationship Id="rId1" Type="http://schemas.microsoft.com/office/2011/relationships/chartStyle" Target="style456.xml"/><Relationship Id="rId2" Type="http://schemas.microsoft.com/office/2011/relationships/chartColorStyle" Target="colors456.xml"/><Relationship Id="rId3" Type="http://schemas.openxmlformats.org/officeDocument/2006/relationships/package" Target="../embeddings/Microsoft_Excel_Worksheet455.xlsx"/></Relationships>
</file>

<file path=ppt/charts/_rels/chart458.xml.rels><?xml version='1.0' encoding='UTF-8' standalone='yes'?>
<Relationships xmlns="http://schemas.openxmlformats.org/package/2006/relationships"><Relationship Id="rId1" Type="http://schemas.microsoft.com/office/2011/relationships/chartStyle" Target="style458.xml"/><Relationship Id="rId2" Type="http://schemas.microsoft.com/office/2011/relationships/chartColorStyle" Target="colors458.xml"/><Relationship Id="rId3"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microsoft.com/office/2011/relationships/chartStyle" Target="style459.xml"/><Relationship Id="rId2" Type="http://schemas.microsoft.com/office/2011/relationships/chartColorStyle" Target="colors459.xml"/><Relationship Id="rId3"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microsoft.com/office/2011/relationships/chartStyle" Target="style460.xml"/><Relationship Id="rId2" Type="http://schemas.microsoft.com/office/2011/relationships/chartColorStyle" Target="colors460.xml"/><Relationship Id="rId3"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microsoft.com/office/2011/relationships/chartStyle" Target="style461.xml"/><Relationship Id="rId2" Type="http://schemas.microsoft.com/office/2011/relationships/chartColorStyle" Target="colors461.xml"/><Relationship Id="rId3" Type="http://schemas.openxmlformats.org/officeDocument/2006/relationships/package" Target="../embeddings/Microsoft_Excel_Worksheet460.xlsx"/></Relationships>
</file>

<file path=ppt/charts/_rels/chart463.xml.rels><?xml version='1.0' encoding='UTF-8' standalone='yes'?>
<Relationships xmlns="http://schemas.openxmlformats.org/package/2006/relationships"><Relationship Id="rId1" Type="http://schemas.microsoft.com/office/2011/relationships/chartStyle" Target="style463.xml"/><Relationship Id="rId2" Type="http://schemas.microsoft.com/office/2011/relationships/chartColorStyle" Target="colors463.xml"/><Relationship Id="rId3"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microsoft.com/office/2011/relationships/chartStyle" Target="style464.xml"/><Relationship Id="rId2" Type="http://schemas.microsoft.com/office/2011/relationships/chartColorStyle" Target="colors464.xml"/><Relationship Id="rId3"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microsoft.com/office/2011/relationships/chartStyle" Target="style465.xml"/><Relationship Id="rId2" Type="http://schemas.microsoft.com/office/2011/relationships/chartColorStyle" Target="colors465.xml"/><Relationship Id="rId3"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microsoft.com/office/2011/relationships/chartStyle" Target="style466.xml"/><Relationship Id="rId2" Type="http://schemas.microsoft.com/office/2011/relationships/chartColorStyle" Target="colors466.xml"/><Relationship Id="rId3"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microsoft.com/office/2011/relationships/chartStyle" Target="style467.xml"/><Relationship Id="rId2" Type="http://schemas.microsoft.com/office/2011/relationships/chartColorStyle" Target="colors467.xml"/><Relationship Id="rId3" Type="http://schemas.openxmlformats.org/officeDocument/2006/relationships/package" Target="../embeddings/Microsoft_Excel_Worksheet466.xlsx"/></Relationships>
</file>

<file path=ppt/charts/_rels/chart469.xml.rels><?xml version='1.0' encoding='UTF-8' standalone='yes'?>
<Relationships xmlns="http://schemas.openxmlformats.org/package/2006/relationships"><Relationship Id="rId1" Type="http://schemas.microsoft.com/office/2011/relationships/chartStyle" Target="style469.xml"/><Relationship Id="rId2" Type="http://schemas.microsoft.com/office/2011/relationships/chartColorStyle" Target="colors469.xml"/><Relationship Id="rId3"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microsoft.com/office/2011/relationships/chartStyle" Target="style470.xml"/><Relationship Id="rId2" Type="http://schemas.microsoft.com/office/2011/relationships/chartColorStyle" Target="colors470.xml"/><Relationship Id="rId3"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microsoft.com/office/2011/relationships/chartStyle" Target="style471.xml"/><Relationship Id="rId2" Type="http://schemas.microsoft.com/office/2011/relationships/chartColorStyle" Target="colors471.xml"/><Relationship Id="rId3"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microsoft.com/office/2011/relationships/chartStyle" Target="style472.xml"/><Relationship Id="rId2" Type="http://schemas.microsoft.com/office/2011/relationships/chartColorStyle" Target="colors472.xml"/><Relationship Id="rId3" Type="http://schemas.openxmlformats.org/officeDocument/2006/relationships/package" Target="../embeddings/Microsoft_Excel_Worksheet471.xlsx"/></Relationships>
</file>

<file path=ppt/charts/_rels/chart474.xml.rels><?xml version='1.0' encoding='UTF-8' standalone='yes'?>
<Relationships xmlns="http://schemas.openxmlformats.org/package/2006/relationships"><Relationship Id="rId1" Type="http://schemas.microsoft.com/office/2011/relationships/chartStyle" Target="style474.xml"/><Relationship Id="rId2" Type="http://schemas.microsoft.com/office/2011/relationships/chartColorStyle" Target="colors474.xml"/><Relationship Id="rId3"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microsoft.com/office/2011/relationships/chartStyle" Target="style475.xml"/><Relationship Id="rId2" Type="http://schemas.microsoft.com/office/2011/relationships/chartColorStyle" Target="colors475.xml"/><Relationship Id="rId3"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microsoft.com/office/2011/relationships/chartStyle" Target="style476.xml"/><Relationship Id="rId2" Type="http://schemas.microsoft.com/office/2011/relationships/chartColorStyle" Target="colors476.xml"/><Relationship Id="rId3"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microsoft.com/office/2011/relationships/chartStyle" Target="style477.xml"/><Relationship Id="rId2" Type="http://schemas.microsoft.com/office/2011/relationships/chartColorStyle" Target="colors477.xml"/><Relationship Id="rId3"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microsoft.com/office/2011/relationships/chartStyle" Target="style478.xml"/><Relationship Id="rId2" Type="http://schemas.microsoft.com/office/2011/relationships/chartColorStyle" Target="colors478.xml"/><Relationship Id="rId3"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microsoft.com/office/2011/relationships/chartStyle" Target="style479.xml"/><Relationship Id="rId2" Type="http://schemas.microsoft.com/office/2011/relationships/chartColorStyle" Target="colors479.xml"/><Relationship Id="rId3"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microsoft.com/office/2011/relationships/chartStyle" Target="style480.xml"/><Relationship Id="rId2" Type="http://schemas.microsoft.com/office/2011/relationships/chartColorStyle" Target="colors480.xml"/><Relationship Id="rId3"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microsoft.com/office/2011/relationships/chartStyle" Target="style481.xml"/><Relationship Id="rId2" Type="http://schemas.microsoft.com/office/2011/relationships/chartColorStyle" Target="colors481.xml"/><Relationship Id="rId3"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microsoft.com/office/2011/relationships/chartStyle" Target="style482.xml"/><Relationship Id="rId2" Type="http://schemas.microsoft.com/office/2011/relationships/chartColorStyle" Target="colors482.xml"/><Relationship Id="rId3"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microsoft.com/office/2011/relationships/chartStyle" Target="style483.xml"/><Relationship Id="rId2" Type="http://schemas.microsoft.com/office/2011/relationships/chartColorStyle" Target="colors483.xml"/><Relationship Id="rId3" Type="http://schemas.openxmlformats.org/officeDocument/2006/relationships/package" Target="../embeddings/Microsoft_Excel_Worksheet482.xlsx"/></Relationships>
</file>

<file path=ppt/charts/_rels/chart485.xml.rels><?xml version='1.0' encoding='UTF-8' standalone='yes'?>
<Relationships xmlns="http://schemas.openxmlformats.org/package/2006/relationships"><Relationship Id="rId1" Type="http://schemas.microsoft.com/office/2011/relationships/chartStyle" Target="style485.xml"/><Relationship Id="rId2" Type="http://schemas.microsoft.com/office/2011/relationships/chartColorStyle" Target="colors485.xml"/><Relationship Id="rId3" Type="http://schemas.openxmlformats.org/officeDocument/2006/relationships/package" Target="../embeddings/Microsoft_Excel_Worksheet484.xlsx"/></Relationships>
</file>

<file path=ppt/charts/_rels/chart487.xml.rels><?xml version='1.0' encoding='UTF-8' standalone='yes'?>
<Relationships xmlns="http://schemas.openxmlformats.org/package/2006/relationships"><Relationship Id="rId1" Type="http://schemas.microsoft.com/office/2011/relationships/chartStyle" Target="style487.xml"/><Relationship Id="rId2" Type="http://schemas.microsoft.com/office/2011/relationships/chartColorStyle" Target="colors487.xml"/><Relationship Id="rId3"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microsoft.com/office/2011/relationships/chartStyle" Target="style488.xml"/><Relationship Id="rId2" Type="http://schemas.microsoft.com/office/2011/relationships/chartColorStyle" Target="colors488.xml"/><Relationship Id="rId3"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microsoft.com/office/2011/relationships/chartStyle" Target="style489.xml"/><Relationship Id="rId2" Type="http://schemas.microsoft.com/office/2011/relationships/chartColorStyle" Target="colors489.xml"/><Relationship Id="rId3"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microsoft.com/office/2011/relationships/chartStyle" Target="style490.xml"/><Relationship Id="rId2" Type="http://schemas.microsoft.com/office/2011/relationships/chartColorStyle" Target="colors490.xml"/><Relationship Id="rId3"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microsoft.com/office/2011/relationships/chartStyle" Target="style491.xml"/><Relationship Id="rId2" Type="http://schemas.microsoft.com/office/2011/relationships/chartColorStyle" Target="colors491.xml"/><Relationship Id="rId3"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microsoft.com/office/2011/relationships/chartStyle" Target="style492.xml"/><Relationship Id="rId2" Type="http://schemas.microsoft.com/office/2011/relationships/chartColorStyle" Target="colors492.xml"/><Relationship Id="rId3"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microsoft.com/office/2011/relationships/chartStyle" Target="style493.xml"/><Relationship Id="rId2" Type="http://schemas.microsoft.com/office/2011/relationships/chartColorStyle" Target="colors493.xml"/><Relationship Id="rId3"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microsoft.com/office/2011/relationships/chartStyle" Target="style494.xml"/><Relationship Id="rId2" Type="http://schemas.microsoft.com/office/2011/relationships/chartColorStyle" Target="colors494.xml"/><Relationship Id="rId3" Type="http://schemas.openxmlformats.org/officeDocument/2006/relationships/package" Target="../embeddings/Microsoft_Excel_Worksheet493.xlsx"/></Relationships>
</file>

<file path=ppt/charts/_rels/chart496.xml.rels><?xml version='1.0' encoding='UTF-8' standalone='yes'?>
<Relationships xmlns="http://schemas.openxmlformats.org/package/2006/relationships"><Relationship Id="rId1" Type="http://schemas.microsoft.com/office/2011/relationships/chartStyle" Target="style496.xml"/><Relationship Id="rId2" Type="http://schemas.microsoft.com/office/2011/relationships/chartColorStyle" Target="colors496.xml"/><Relationship Id="rId3"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microsoft.com/office/2011/relationships/chartStyle" Target="style497.xml"/><Relationship Id="rId2" Type="http://schemas.microsoft.com/office/2011/relationships/chartColorStyle" Target="colors497.xml"/><Relationship Id="rId3"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microsoft.com/office/2011/relationships/chartStyle" Target="style498.xml"/><Relationship Id="rId2" Type="http://schemas.microsoft.com/office/2011/relationships/chartColorStyle" Target="colors498.xml"/><Relationship Id="rId3"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microsoft.com/office/2011/relationships/chartStyle" Target="style499.xml"/><Relationship Id="rId2" Type="http://schemas.microsoft.com/office/2011/relationships/chartColorStyle" Target="colors499.xml"/><Relationship Id="rId3" Type="http://schemas.openxmlformats.org/officeDocument/2006/relationships/package" Target="../embeddings/Microsoft_Excel_Worksheet498.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01.xml.rels><?xml version='1.0' encoding='UTF-8' standalone='yes'?>
<Relationships xmlns="http://schemas.openxmlformats.org/package/2006/relationships"><Relationship Id="rId1" Type="http://schemas.microsoft.com/office/2011/relationships/chartStyle" Target="style501.xml"/><Relationship Id="rId2" Type="http://schemas.microsoft.com/office/2011/relationships/chartColorStyle" Target="colors501.xml"/><Relationship Id="rId3"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microsoft.com/office/2011/relationships/chartStyle" Target="style502.xml"/><Relationship Id="rId2" Type="http://schemas.microsoft.com/office/2011/relationships/chartColorStyle" Target="colors502.xml"/><Relationship Id="rId3"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microsoft.com/office/2011/relationships/chartStyle" Target="style503.xml"/><Relationship Id="rId2" Type="http://schemas.microsoft.com/office/2011/relationships/chartColorStyle" Target="colors503.xml"/><Relationship Id="rId3"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microsoft.com/office/2011/relationships/chartStyle" Target="style504.xml"/><Relationship Id="rId2" Type="http://schemas.microsoft.com/office/2011/relationships/chartColorStyle" Target="colors504.xml"/><Relationship Id="rId3"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microsoft.com/office/2011/relationships/chartStyle" Target="style505.xml"/><Relationship Id="rId2" Type="http://schemas.microsoft.com/office/2011/relationships/chartColorStyle" Target="colors505.xml"/><Relationship Id="rId3"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microsoft.com/office/2011/relationships/chartStyle" Target="style506.xml"/><Relationship Id="rId2" Type="http://schemas.microsoft.com/office/2011/relationships/chartColorStyle" Target="colors506.xml"/><Relationship Id="rId3" Type="http://schemas.openxmlformats.org/officeDocument/2006/relationships/package" Target="../embeddings/Microsoft_Excel_Worksheet505.xlsx"/></Relationships>
</file>

<file path=ppt/charts/_rels/chart508.xml.rels><?xml version='1.0' encoding='UTF-8' standalone='yes'?>
<Relationships xmlns="http://schemas.openxmlformats.org/package/2006/relationships"><Relationship Id="rId1" Type="http://schemas.microsoft.com/office/2011/relationships/chartStyle" Target="style508.xml"/><Relationship Id="rId2" Type="http://schemas.microsoft.com/office/2011/relationships/chartColorStyle" Target="colors508.xml"/><Relationship Id="rId3"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microsoft.com/office/2011/relationships/chartStyle" Target="style509.xml"/><Relationship Id="rId2" Type="http://schemas.microsoft.com/office/2011/relationships/chartColorStyle" Target="colors509.xml"/><Relationship Id="rId3"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microsoft.com/office/2011/relationships/chartStyle" Target="style510.xml"/><Relationship Id="rId2" Type="http://schemas.microsoft.com/office/2011/relationships/chartColorStyle" Target="colors510.xml"/><Relationship Id="rId3" Type="http://schemas.openxmlformats.org/officeDocument/2006/relationships/package" Target="../embeddings/Microsoft_Excel_Worksheet509.xlsx"/></Relationships>
</file>

<file path=ppt/charts/_rels/chart512.xml.rels><?xml version='1.0' encoding='UTF-8' standalone='yes'?>
<Relationships xmlns="http://schemas.openxmlformats.org/package/2006/relationships"><Relationship Id="rId1" Type="http://schemas.microsoft.com/office/2011/relationships/chartStyle" Target="style512.xml"/><Relationship Id="rId2" Type="http://schemas.microsoft.com/office/2011/relationships/chartColorStyle" Target="colors512.xml"/><Relationship Id="rId3"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microsoft.com/office/2011/relationships/chartStyle" Target="style513.xml"/><Relationship Id="rId2" Type="http://schemas.microsoft.com/office/2011/relationships/chartColorStyle" Target="colors513.xml"/><Relationship Id="rId3"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microsoft.com/office/2011/relationships/chartStyle" Target="style514.xml"/><Relationship Id="rId2" Type="http://schemas.microsoft.com/office/2011/relationships/chartColorStyle" Target="colors514.xml"/><Relationship Id="rId3"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microsoft.com/office/2011/relationships/chartStyle" Target="style515.xml"/><Relationship Id="rId2" Type="http://schemas.microsoft.com/office/2011/relationships/chartColorStyle" Target="colors515.xml"/><Relationship Id="rId3"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microsoft.com/office/2011/relationships/chartStyle" Target="style516.xml"/><Relationship Id="rId2" Type="http://schemas.microsoft.com/office/2011/relationships/chartColorStyle" Target="colors516.xml"/><Relationship Id="rId3"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microsoft.com/office/2011/relationships/chartStyle" Target="style517.xml"/><Relationship Id="rId2" Type="http://schemas.microsoft.com/office/2011/relationships/chartColorStyle" Target="colors517.xml"/><Relationship Id="rId3" Type="http://schemas.openxmlformats.org/officeDocument/2006/relationships/package" Target="../embeddings/Microsoft_Excel_Worksheet516.xlsx"/></Relationships>
</file>

<file path=ppt/charts/_rels/chart519.xml.rels><?xml version='1.0' encoding='UTF-8' standalone='yes'?>
<Relationships xmlns="http://schemas.openxmlformats.org/package/2006/relationships"><Relationship Id="rId1" Type="http://schemas.microsoft.com/office/2011/relationships/chartStyle" Target="style519.xml"/><Relationship Id="rId2" Type="http://schemas.microsoft.com/office/2011/relationships/chartColorStyle" Target="colors519.xml"/><Relationship Id="rId3" Type="http://schemas.openxmlformats.org/officeDocument/2006/relationships/package" Target="../embeddings/Microsoft_Excel_Worksheet518.xlsx"/></Relationships>
</file>

<file path=ppt/charts/_rels/chart520.xml.rels><?xml version='1.0' encoding='UTF-8' standalone='yes'?>
<Relationships xmlns="http://schemas.openxmlformats.org/package/2006/relationships"><Relationship Id="rId1" Type="http://schemas.microsoft.com/office/2011/relationships/chartStyle" Target="style520.xml"/><Relationship Id="rId2" Type="http://schemas.microsoft.com/office/2011/relationships/chartColorStyle" Target="colors520.xml"/><Relationship Id="rId3"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microsoft.com/office/2011/relationships/chartStyle" Target="style521.xml"/><Relationship Id="rId2" Type="http://schemas.microsoft.com/office/2011/relationships/chartColorStyle" Target="colors521.xml"/><Relationship Id="rId3" Type="http://schemas.openxmlformats.org/officeDocument/2006/relationships/package" Target="../embeddings/Microsoft_Excel_Worksheet520.xlsx"/></Relationships>
</file>

<file path=ppt/charts/_rels/chart523.xml.rels><?xml version='1.0' encoding='UTF-8' standalone='yes'?>
<Relationships xmlns="http://schemas.openxmlformats.org/package/2006/relationships"><Relationship Id="rId1" Type="http://schemas.microsoft.com/office/2011/relationships/chartStyle" Target="style523.xml"/><Relationship Id="rId2" Type="http://schemas.microsoft.com/office/2011/relationships/chartColorStyle" Target="colors523.xml"/><Relationship Id="rId3"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microsoft.com/office/2011/relationships/chartStyle" Target="style524.xml"/><Relationship Id="rId2" Type="http://schemas.microsoft.com/office/2011/relationships/chartColorStyle" Target="colors524.xml"/><Relationship Id="rId3"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microsoft.com/office/2011/relationships/chartStyle" Target="style525.xml"/><Relationship Id="rId2" Type="http://schemas.microsoft.com/office/2011/relationships/chartColorStyle" Target="colors525.xml"/><Relationship Id="rId3"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microsoft.com/office/2011/relationships/chartStyle" Target="style526.xml"/><Relationship Id="rId2" Type="http://schemas.microsoft.com/office/2011/relationships/chartColorStyle" Target="colors526.xml"/><Relationship Id="rId3"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microsoft.com/office/2011/relationships/chartStyle" Target="style527.xml"/><Relationship Id="rId2" Type="http://schemas.microsoft.com/office/2011/relationships/chartColorStyle" Target="colors527.xml"/><Relationship Id="rId3"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microsoft.com/office/2011/relationships/chartStyle" Target="style528.xml"/><Relationship Id="rId2" Type="http://schemas.microsoft.com/office/2011/relationships/chartColorStyle" Target="colors528.xml"/><Relationship Id="rId3" Type="http://schemas.openxmlformats.org/officeDocument/2006/relationships/package" Target="../embeddings/Microsoft_Excel_Worksheet527.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microsoft.com/office/2011/relationships/chartStyle" Target="style530.xml"/><Relationship Id="rId2" Type="http://schemas.microsoft.com/office/2011/relationships/chartColorStyle" Target="colors530.xml"/><Relationship Id="rId3"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microsoft.com/office/2011/relationships/chartStyle" Target="style531.xml"/><Relationship Id="rId2" Type="http://schemas.microsoft.com/office/2011/relationships/chartColorStyle" Target="colors531.xml"/><Relationship Id="rId3"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microsoft.com/office/2011/relationships/chartStyle" Target="style532.xml"/><Relationship Id="rId2" Type="http://schemas.microsoft.com/office/2011/relationships/chartColorStyle" Target="colors532.xml"/><Relationship Id="rId3" Type="http://schemas.openxmlformats.org/officeDocument/2006/relationships/package" Target="../embeddings/Microsoft_Excel_Worksheet531.xlsx"/></Relationships>
</file>

<file path=ppt/charts/_rels/chart534.xml.rels><?xml version='1.0' encoding='UTF-8' standalone='yes'?>
<Relationships xmlns="http://schemas.openxmlformats.org/package/2006/relationships"><Relationship Id="rId1" Type="http://schemas.microsoft.com/office/2011/relationships/chartStyle" Target="style534.xml"/><Relationship Id="rId2" Type="http://schemas.microsoft.com/office/2011/relationships/chartColorStyle" Target="colors534.xml"/><Relationship Id="rId3"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microsoft.com/office/2011/relationships/chartStyle" Target="style535.xml"/><Relationship Id="rId2" Type="http://schemas.microsoft.com/office/2011/relationships/chartColorStyle" Target="colors535.xml"/><Relationship Id="rId3"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microsoft.com/office/2011/relationships/chartStyle" Target="style536.xml"/><Relationship Id="rId2" Type="http://schemas.microsoft.com/office/2011/relationships/chartColorStyle" Target="colors536.xml"/><Relationship Id="rId3"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microsoft.com/office/2011/relationships/chartStyle" Target="style537.xml"/><Relationship Id="rId2" Type="http://schemas.microsoft.com/office/2011/relationships/chartColorStyle" Target="colors537.xml"/><Relationship Id="rId3"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microsoft.com/office/2011/relationships/chartStyle" Target="style538.xml"/><Relationship Id="rId2" Type="http://schemas.microsoft.com/office/2011/relationships/chartColorStyle" Target="colors538.xml"/><Relationship Id="rId3"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microsoft.com/office/2011/relationships/chartStyle" Target="style539.xml"/><Relationship Id="rId2" Type="http://schemas.microsoft.com/office/2011/relationships/chartColorStyle" Target="colors539.xml"/><Relationship Id="rId3"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41.xml.rels><?xml version='1.0' encoding='UTF-8' standalone='yes'?>
<Relationships xmlns="http://schemas.openxmlformats.org/package/2006/relationships"><Relationship Id="rId1" Type="http://schemas.microsoft.com/office/2011/relationships/chartStyle" Target="style541.xml"/><Relationship Id="rId2" Type="http://schemas.microsoft.com/office/2011/relationships/chartColorStyle" Target="colors541.xml"/><Relationship Id="rId3"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microsoft.com/office/2011/relationships/chartStyle" Target="style542.xml"/><Relationship Id="rId2" Type="http://schemas.microsoft.com/office/2011/relationships/chartColorStyle" Target="colors542.xml"/><Relationship Id="rId3"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microsoft.com/office/2011/relationships/chartStyle" Target="style543.xml"/><Relationship Id="rId2" Type="http://schemas.microsoft.com/office/2011/relationships/chartColorStyle" Target="colors543.xml"/><Relationship Id="rId3" Type="http://schemas.openxmlformats.org/officeDocument/2006/relationships/package" Target="../embeddings/Microsoft_Excel_Worksheet542.xlsx"/></Relationships>
</file>

<file path=ppt/charts/_rels/chart545.xml.rels><?xml version='1.0' encoding='UTF-8' standalone='yes'?>
<Relationships xmlns="http://schemas.openxmlformats.org/package/2006/relationships"><Relationship Id="rId1" Type="http://schemas.microsoft.com/office/2011/relationships/chartStyle" Target="style545.xml"/><Relationship Id="rId2" Type="http://schemas.microsoft.com/office/2011/relationships/chartColorStyle" Target="colors545.xml"/><Relationship Id="rId3"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microsoft.com/office/2011/relationships/chartStyle" Target="style546.xml"/><Relationship Id="rId2" Type="http://schemas.microsoft.com/office/2011/relationships/chartColorStyle" Target="colors546.xml"/><Relationship Id="rId3"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microsoft.com/office/2011/relationships/chartStyle" Target="style547.xml"/><Relationship Id="rId2" Type="http://schemas.microsoft.com/office/2011/relationships/chartColorStyle" Target="colors547.xml"/><Relationship Id="rId3"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microsoft.com/office/2011/relationships/chartStyle" Target="style548.xml"/><Relationship Id="rId2" Type="http://schemas.microsoft.com/office/2011/relationships/chartColorStyle" Target="colors548.xml"/><Relationship Id="rId3"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microsoft.com/office/2011/relationships/chartStyle" Target="style549.xml"/><Relationship Id="rId2" Type="http://schemas.microsoft.com/office/2011/relationships/chartColorStyle" Target="colors549.xml"/><Relationship Id="rId3"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microsoft.com/office/2011/relationships/chartStyle" Target="style550.xml"/><Relationship Id="rId2" Type="http://schemas.microsoft.com/office/2011/relationships/chartColorStyle" Target="colors550.xml"/><Relationship Id="rId3" Type="http://schemas.openxmlformats.org/officeDocument/2006/relationships/package" Target="../embeddings/Microsoft_Excel_Worksheet549.xlsx"/></Relationships>
</file>

<file path=ppt/charts/_rels/chart552.xml.rels><?xml version='1.0' encoding='UTF-8' standalone='yes'?>
<Relationships xmlns="http://schemas.openxmlformats.org/package/2006/relationships"><Relationship Id="rId1" Type="http://schemas.microsoft.com/office/2011/relationships/chartStyle" Target="style552.xml"/><Relationship Id="rId2" Type="http://schemas.microsoft.com/office/2011/relationships/chartColorStyle" Target="colors552.xml"/><Relationship Id="rId3"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microsoft.com/office/2011/relationships/chartStyle" Target="style553.xml"/><Relationship Id="rId2" Type="http://schemas.microsoft.com/office/2011/relationships/chartColorStyle" Target="colors553.xml"/><Relationship Id="rId3"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microsoft.com/office/2011/relationships/chartStyle" Target="style554.xml"/><Relationship Id="rId2" Type="http://schemas.microsoft.com/office/2011/relationships/chartColorStyle" Target="colors554.xml"/><Relationship Id="rId3" Type="http://schemas.openxmlformats.org/officeDocument/2006/relationships/package" Target="../embeddings/Microsoft_Excel_Worksheet553.xlsx"/></Relationships>
</file>

<file path=ppt/charts/_rels/chart556.xml.rels><?xml version='1.0' encoding='UTF-8' standalone='yes'?>
<Relationships xmlns="http://schemas.openxmlformats.org/package/2006/relationships"><Relationship Id="rId1" Type="http://schemas.microsoft.com/office/2011/relationships/chartStyle" Target="style556.xml"/><Relationship Id="rId2" Type="http://schemas.microsoft.com/office/2011/relationships/chartColorStyle" Target="colors556.xml"/><Relationship Id="rId3"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microsoft.com/office/2011/relationships/chartStyle" Target="style557.xml"/><Relationship Id="rId2" Type="http://schemas.microsoft.com/office/2011/relationships/chartColorStyle" Target="colors557.xml"/><Relationship Id="rId3"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microsoft.com/office/2011/relationships/chartStyle" Target="style558.xml"/><Relationship Id="rId2" Type="http://schemas.microsoft.com/office/2011/relationships/chartColorStyle" Target="colors558.xml"/><Relationship Id="rId3"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microsoft.com/office/2011/relationships/chartStyle" Target="style559.xml"/><Relationship Id="rId2" Type="http://schemas.microsoft.com/office/2011/relationships/chartColorStyle" Target="colors559.xml"/><Relationship Id="rId3"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microsoft.com/office/2011/relationships/chartStyle" Target="style560.xml"/><Relationship Id="rId2" Type="http://schemas.microsoft.com/office/2011/relationships/chartColorStyle" Target="colors560.xml"/><Relationship Id="rId3"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microsoft.com/office/2011/relationships/chartStyle" Target="style561.xml"/><Relationship Id="rId2" Type="http://schemas.microsoft.com/office/2011/relationships/chartColorStyle" Target="colors561.xml"/><Relationship Id="rId3" Type="http://schemas.openxmlformats.org/officeDocument/2006/relationships/package" Target="../embeddings/Microsoft_Excel_Worksheet560.xlsx"/></Relationships>
</file>

<file path=ppt/charts/_rels/chart563.xml.rels><?xml version='1.0' encoding='UTF-8' standalone='yes'?>
<Relationships xmlns="http://schemas.openxmlformats.org/package/2006/relationships"><Relationship Id="rId1" Type="http://schemas.microsoft.com/office/2011/relationships/chartStyle" Target="style563.xml"/><Relationship Id="rId2" Type="http://schemas.microsoft.com/office/2011/relationships/chartColorStyle" Target="colors563.xml"/><Relationship Id="rId3"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microsoft.com/office/2011/relationships/chartStyle" Target="style564.xml"/><Relationship Id="rId2" Type="http://schemas.microsoft.com/office/2011/relationships/chartColorStyle" Target="colors564.xml"/><Relationship Id="rId3"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microsoft.com/office/2011/relationships/chartStyle" Target="style565.xml"/><Relationship Id="rId2" Type="http://schemas.microsoft.com/office/2011/relationships/chartColorStyle" Target="colors565.xml"/><Relationship Id="rId3"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microsoft.com/office/2011/relationships/chartStyle" Target="style566.xml"/><Relationship Id="rId2" Type="http://schemas.microsoft.com/office/2011/relationships/chartColorStyle" Target="colors566.xml"/><Relationship Id="rId3"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microsoft.com/office/2011/relationships/chartStyle" Target="style567.xml"/><Relationship Id="rId2" Type="http://schemas.microsoft.com/office/2011/relationships/chartColorStyle" Target="colors567.xml"/><Relationship Id="rId3"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microsoft.com/office/2011/relationships/chartStyle" Target="style568.xml"/><Relationship Id="rId2" Type="http://schemas.microsoft.com/office/2011/relationships/chartColorStyle" Target="colors568.xml"/><Relationship Id="rId3"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microsoft.com/office/2011/relationships/chartStyle" Target="style569.xml"/><Relationship Id="rId2" Type="http://schemas.microsoft.com/office/2011/relationships/chartColorStyle" Target="colors569.xml"/><Relationship Id="rId3"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microsoft.com/office/2011/relationships/chartStyle" Target="style570.xml"/><Relationship Id="rId2" Type="http://schemas.microsoft.com/office/2011/relationships/chartColorStyle" Target="colors570.xml"/><Relationship Id="rId3"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microsoft.com/office/2011/relationships/chartStyle" Target="style571.xml"/><Relationship Id="rId2" Type="http://schemas.microsoft.com/office/2011/relationships/chartColorStyle" Target="colors571.xml"/><Relationship Id="rId3"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microsoft.com/office/2011/relationships/chartStyle" Target="style572.xml"/><Relationship Id="rId2" Type="http://schemas.microsoft.com/office/2011/relationships/chartColorStyle" Target="colors572.xml"/><Relationship Id="rId3" Type="http://schemas.openxmlformats.org/officeDocument/2006/relationships/package" Target="../embeddings/Microsoft_Excel_Worksheet571.xlsx"/></Relationships>
</file>

<file path=ppt/charts/_rels/chart574.xml.rels><?xml version='1.0' encoding='UTF-8' standalone='yes'?>
<Relationships xmlns="http://schemas.openxmlformats.org/package/2006/relationships"><Relationship Id="rId1" Type="http://schemas.microsoft.com/office/2011/relationships/chartStyle" Target="style574.xml"/><Relationship Id="rId2" Type="http://schemas.microsoft.com/office/2011/relationships/chartColorStyle" Target="colors574.xml"/><Relationship Id="rId3"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microsoft.com/office/2011/relationships/chartStyle" Target="style575.xml"/><Relationship Id="rId2" Type="http://schemas.microsoft.com/office/2011/relationships/chartColorStyle" Target="colors575.xml"/><Relationship Id="rId3"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microsoft.com/office/2011/relationships/chartStyle" Target="style576.xml"/><Relationship Id="rId2" Type="http://schemas.microsoft.com/office/2011/relationships/chartColorStyle" Target="colors576.xml"/><Relationship Id="rId3"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microsoft.com/office/2011/relationships/chartStyle" Target="style577.xml"/><Relationship Id="rId2" Type="http://schemas.microsoft.com/office/2011/relationships/chartColorStyle" Target="colors577.xml"/><Relationship Id="rId3"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microsoft.com/office/2011/relationships/chartStyle" Target="style578.xml"/><Relationship Id="rId2" Type="http://schemas.microsoft.com/office/2011/relationships/chartColorStyle" Target="colors578.xml"/><Relationship Id="rId3"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microsoft.com/office/2011/relationships/chartStyle" Target="style579.xml"/><Relationship Id="rId2" Type="http://schemas.microsoft.com/office/2011/relationships/chartColorStyle" Target="colors579.xml"/><Relationship Id="rId3"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microsoft.com/office/2011/relationships/chartStyle" Target="style580.xml"/><Relationship Id="rId2" Type="http://schemas.microsoft.com/office/2011/relationships/chartColorStyle" Target="colors580.xml"/><Relationship Id="rId3"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microsoft.com/office/2011/relationships/chartStyle" Target="style581.xml"/><Relationship Id="rId2" Type="http://schemas.microsoft.com/office/2011/relationships/chartColorStyle" Target="colors581.xml"/><Relationship Id="rId3"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microsoft.com/office/2011/relationships/chartStyle" Target="style582.xml"/><Relationship Id="rId2" Type="http://schemas.microsoft.com/office/2011/relationships/chartColorStyle" Target="colors582.xml"/><Relationship Id="rId3"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microsoft.com/office/2011/relationships/chartStyle" Target="style583.xml"/><Relationship Id="rId2" Type="http://schemas.microsoft.com/office/2011/relationships/chartColorStyle" Target="colors583.xml"/><Relationship Id="rId3" Type="http://schemas.openxmlformats.org/officeDocument/2006/relationships/package" Target="../embeddings/Microsoft_Excel_Worksheet582.xlsx"/></Relationships>
</file>

<file path=ppt/charts/_rels/chart585.xml.rels><?xml version='1.0' encoding='UTF-8' standalone='yes'?>
<Relationships xmlns="http://schemas.openxmlformats.org/package/2006/relationships"><Relationship Id="rId1" Type="http://schemas.microsoft.com/office/2011/relationships/chartStyle" Target="style585.xml"/><Relationship Id="rId2" Type="http://schemas.microsoft.com/office/2011/relationships/chartColorStyle" Target="colors585.xml"/><Relationship Id="rId3" Type="http://schemas.openxmlformats.org/officeDocument/2006/relationships/package" Target="../embeddings/Microsoft_Excel_Worksheet584.xlsx"/></Relationships>
</file>

<file path=ppt/charts/_rels/chart587.xml.rels><?xml version='1.0' encoding='UTF-8' standalone='yes'?>
<Relationships xmlns="http://schemas.openxmlformats.org/package/2006/relationships"><Relationship Id="rId1" Type="http://schemas.microsoft.com/office/2011/relationships/chartStyle" Target="style587.xml"/><Relationship Id="rId2" Type="http://schemas.microsoft.com/office/2011/relationships/chartColorStyle" Target="colors587.xml"/><Relationship Id="rId3"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microsoft.com/office/2011/relationships/chartStyle" Target="style588.xml"/><Relationship Id="rId2" Type="http://schemas.microsoft.com/office/2011/relationships/chartColorStyle" Target="colors588.xml"/><Relationship Id="rId3"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microsoft.com/office/2011/relationships/chartStyle" Target="style589.xml"/><Relationship Id="rId2" Type="http://schemas.microsoft.com/office/2011/relationships/chartColorStyle" Target="colors589.xml"/><Relationship Id="rId3"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microsoft.com/office/2011/relationships/chartStyle" Target="style590.xml"/><Relationship Id="rId2" Type="http://schemas.microsoft.com/office/2011/relationships/chartColorStyle" Target="colors590.xml"/><Relationship Id="rId3" Type="http://schemas.openxmlformats.org/officeDocument/2006/relationships/package" Target="../embeddings/Microsoft_Excel_Worksheet589.xlsx"/></Relationships>
</file>

<file path=ppt/charts/_rels/chart592.xml.rels><?xml version='1.0' encoding='UTF-8' standalone='yes'?>
<Relationships xmlns="http://schemas.openxmlformats.org/package/2006/relationships"><Relationship Id="rId1" Type="http://schemas.microsoft.com/office/2011/relationships/chartStyle" Target="style592.xml"/><Relationship Id="rId2" Type="http://schemas.microsoft.com/office/2011/relationships/chartColorStyle" Target="colors592.xml"/><Relationship Id="rId3"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microsoft.com/office/2011/relationships/chartStyle" Target="style593.xml"/><Relationship Id="rId2" Type="http://schemas.microsoft.com/office/2011/relationships/chartColorStyle" Target="colors593.xml"/><Relationship Id="rId3"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microsoft.com/office/2011/relationships/chartStyle" Target="style594.xml"/><Relationship Id="rId2" Type="http://schemas.microsoft.com/office/2011/relationships/chartColorStyle" Target="colors594.xml"/><Relationship Id="rId3" Type="http://schemas.openxmlformats.org/officeDocument/2006/relationships/package" Target="../embeddings/Microsoft_Excel_Worksheet593.xlsx"/></Relationships>
</file>

<file path=ppt/charts/_rels/chart597.xml.rels><?xml version='1.0' encoding='UTF-8' standalone='yes'?>
<Relationships xmlns="http://schemas.openxmlformats.org/package/2006/relationships"><Relationship Id="rId1" Type="http://schemas.microsoft.com/office/2011/relationships/chartStyle" Target="style597.xml"/><Relationship Id="rId2" Type="http://schemas.microsoft.com/office/2011/relationships/chartColorStyle" Target="colors597.xml"/><Relationship Id="rId3"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microsoft.com/office/2011/relationships/chartStyle" Target="style598.xml"/><Relationship Id="rId2" Type="http://schemas.microsoft.com/office/2011/relationships/chartColorStyle" Target="colors598.xml"/><Relationship Id="rId3"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microsoft.com/office/2011/relationships/chartStyle" Target="style599.xml"/><Relationship Id="rId2" Type="http://schemas.microsoft.com/office/2011/relationships/chartColorStyle" Target="colors599.xml"/><Relationship Id="rId3"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01.xml.rels><?xml version='1.0' encoding='UTF-8' standalone='yes'?>
<Relationships xmlns="http://schemas.openxmlformats.org/package/2006/relationships"><Relationship Id="rId1" Type="http://schemas.microsoft.com/office/2011/relationships/chartStyle" Target="style601.xml"/><Relationship Id="rId2" Type="http://schemas.microsoft.com/office/2011/relationships/chartColorStyle" Target="colors601.xml"/><Relationship Id="rId3"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microsoft.com/office/2011/relationships/chartStyle" Target="style602.xml"/><Relationship Id="rId2" Type="http://schemas.microsoft.com/office/2011/relationships/chartColorStyle" Target="colors602.xml"/><Relationship Id="rId3"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microsoft.com/office/2011/relationships/chartStyle" Target="style603.xml"/><Relationship Id="rId2" Type="http://schemas.microsoft.com/office/2011/relationships/chartColorStyle" Target="colors603.xml"/><Relationship Id="rId3"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microsoft.com/office/2011/relationships/chartStyle" Target="style604.xml"/><Relationship Id="rId2" Type="http://schemas.microsoft.com/office/2011/relationships/chartColorStyle" Target="colors604.xml"/><Relationship Id="rId3" Type="http://schemas.openxmlformats.org/officeDocument/2006/relationships/package" Target="../embeddings/Microsoft_Excel_Worksheet603.xlsx"/></Relationships>
</file>

<file path=ppt/charts/_rels/chart606.xml.rels><?xml version='1.0' encoding='UTF-8' standalone='yes'?>
<Relationships xmlns="http://schemas.openxmlformats.org/package/2006/relationships"><Relationship Id="rId1" Type="http://schemas.microsoft.com/office/2011/relationships/chartStyle" Target="style606.xml"/><Relationship Id="rId2" Type="http://schemas.microsoft.com/office/2011/relationships/chartColorStyle" Target="colors606.xml"/><Relationship Id="rId3" Type="http://schemas.openxmlformats.org/officeDocument/2006/relationships/package" Target="../embeddings/Microsoft_Excel_Worksheet605.xlsx"/></Relationships>
</file>

<file path=ppt/charts/_rels/chart608.xml.rels><?xml version='1.0' encoding='UTF-8' standalone='yes'?>
<Relationships xmlns="http://schemas.openxmlformats.org/package/2006/relationships"><Relationship Id="rId1" Type="http://schemas.microsoft.com/office/2011/relationships/chartStyle" Target="style608.xml"/><Relationship Id="rId2" Type="http://schemas.microsoft.com/office/2011/relationships/chartColorStyle" Target="colors608.xml"/><Relationship Id="rId3"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microsoft.com/office/2011/relationships/chartStyle" Target="style609.xml"/><Relationship Id="rId2" Type="http://schemas.microsoft.com/office/2011/relationships/chartColorStyle" Target="colors609.xml"/><Relationship Id="rId3"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microsoft.com/office/2011/relationships/chartStyle" Target="style610.xml"/><Relationship Id="rId2" Type="http://schemas.microsoft.com/office/2011/relationships/chartColorStyle" Target="colors610.xml"/><Relationship Id="rId3" Type="http://schemas.openxmlformats.org/officeDocument/2006/relationships/package" Target="../embeddings/Microsoft_Excel_Worksheet609.xlsx"/></Relationships>
</file>

<file path=ppt/charts/_rels/chart612.xml.rels><?xml version='1.0' encoding='UTF-8' standalone='yes'?>
<Relationships xmlns="http://schemas.openxmlformats.org/package/2006/relationships"><Relationship Id="rId1" Type="http://schemas.microsoft.com/office/2011/relationships/chartStyle" Target="style612.xml"/><Relationship Id="rId2" Type="http://schemas.microsoft.com/office/2011/relationships/chartColorStyle" Target="colors612.xml"/><Relationship Id="rId3"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microsoft.com/office/2011/relationships/chartStyle" Target="style613.xml"/><Relationship Id="rId2" Type="http://schemas.microsoft.com/office/2011/relationships/chartColorStyle" Target="colors613.xml"/><Relationship Id="rId3"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microsoft.com/office/2011/relationships/chartStyle" Target="style614.xml"/><Relationship Id="rId2" Type="http://schemas.microsoft.com/office/2011/relationships/chartColorStyle" Target="colors614.xml"/><Relationship Id="rId3"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microsoft.com/office/2011/relationships/chartStyle" Target="style615.xml"/><Relationship Id="rId2" Type="http://schemas.microsoft.com/office/2011/relationships/chartColorStyle" Target="colors615.xml"/><Relationship Id="rId3"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microsoft.com/office/2011/relationships/chartStyle" Target="style616.xml"/><Relationship Id="rId2" Type="http://schemas.microsoft.com/office/2011/relationships/chartColorStyle" Target="colors616.xml"/><Relationship Id="rId3"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microsoft.com/office/2011/relationships/chartStyle" Target="style617.xml"/><Relationship Id="rId2" Type="http://schemas.microsoft.com/office/2011/relationships/chartColorStyle" Target="colors617.xml"/><Relationship Id="rId3" Type="http://schemas.openxmlformats.org/officeDocument/2006/relationships/package" Target="../embeddings/Microsoft_Excel_Worksheet616.xlsx"/></Relationships>
</file>

<file path=ppt/charts/_rels/chart619.xml.rels><?xml version='1.0' encoding='UTF-8' standalone='yes'?>
<Relationships xmlns="http://schemas.openxmlformats.org/package/2006/relationships"><Relationship Id="rId1" Type="http://schemas.microsoft.com/office/2011/relationships/chartStyle" Target="style619.xml"/><Relationship Id="rId2" Type="http://schemas.microsoft.com/office/2011/relationships/chartColorStyle" Target="colors619.xml"/><Relationship Id="rId3"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microsoft.com/office/2011/relationships/chartStyle" Target="style620.xml"/><Relationship Id="rId2" Type="http://schemas.microsoft.com/office/2011/relationships/chartColorStyle" Target="colors620.xml"/><Relationship Id="rId3"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microsoft.com/office/2011/relationships/chartStyle" Target="style621.xml"/><Relationship Id="rId2" Type="http://schemas.microsoft.com/office/2011/relationships/chartColorStyle" Target="colors621.xml"/><Relationship Id="rId3" Type="http://schemas.openxmlformats.org/officeDocument/2006/relationships/package" Target="../embeddings/Microsoft_Excel_Worksheet620.xlsx"/></Relationships>
</file>

<file path=ppt/charts/_rels/chart623.xml.rels><?xml version='1.0' encoding='UTF-8' standalone='yes'?>
<Relationships xmlns="http://schemas.openxmlformats.org/package/2006/relationships"><Relationship Id="rId1" Type="http://schemas.microsoft.com/office/2011/relationships/chartStyle" Target="style623.xml"/><Relationship Id="rId2" Type="http://schemas.microsoft.com/office/2011/relationships/chartColorStyle" Target="colors623.xml"/><Relationship Id="rId3"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microsoft.com/office/2011/relationships/chartStyle" Target="style624.xml"/><Relationship Id="rId2" Type="http://schemas.microsoft.com/office/2011/relationships/chartColorStyle" Target="colors624.xml"/><Relationship Id="rId3"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microsoft.com/office/2011/relationships/chartStyle" Target="style625.xml"/><Relationship Id="rId2" Type="http://schemas.microsoft.com/office/2011/relationships/chartColorStyle" Target="colors625.xml"/><Relationship Id="rId3"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microsoft.com/office/2011/relationships/chartStyle" Target="style626.xml"/><Relationship Id="rId2" Type="http://schemas.microsoft.com/office/2011/relationships/chartColorStyle" Target="colors626.xml"/><Relationship Id="rId3"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microsoft.com/office/2011/relationships/chartStyle" Target="style627.xml"/><Relationship Id="rId2" Type="http://schemas.microsoft.com/office/2011/relationships/chartColorStyle" Target="colors627.xml"/><Relationship Id="rId3"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microsoft.com/office/2011/relationships/chartStyle" Target="style628.xml"/><Relationship Id="rId2" Type="http://schemas.microsoft.com/office/2011/relationships/chartColorStyle" Target="colors628.xml"/><Relationship Id="rId3" Type="http://schemas.openxmlformats.org/officeDocument/2006/relationships/package" Target="../embeddings/Microsoft_Excel_Worksheet627.xlsx"/></Relationships>
</file>

<file path=ppt/charts/_rels/chart630.xml.rels><?xml version='1.0' encoding='UTF-8' standalone='yes'?>
<Relationships xmlns="http://schemas.openxmlformats.org/package/2006/relationships"><Relationship Id="rId1" Type="http://schemas.microsoft.com/office/2011/relationships/chartStyle" Target="style630.xml"/><Relationship Id="rId2" Type="http://schemas.microsoft.com/office/2011/relationships/chartColorStyle" Target="colors630.xml"/><Relationship Id="rId3"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microsoft.com/office/2011/relationships/chartStyle" Target="style631.xml"/><Relationship Id="rId2" Type="http://schemas.microsoft.com/office/2011/relationships/chartColorStyle" Target="colors631.xml"/><Relationship Id="rId3"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microsoft.com/office/2011/relationships/chartStyle" Target="style632.xml"/><Relationship Id="rId2" Type="http://schemas.microsoft.com/office/2011/relationships/chartColorStyle" Target="colors632.xml"/><Relationship Id="rId3"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microsoft.com/office/2011/relationships/chartStyle" Target="style633.xml"/><Relationship Id="rId2" Type="http://schemas.microsoft.com/office/2011/relationships/chartColorStyle" Target="colors633.xml"/><Relationship Id="rId3"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microsoft.com/office/2011/relationships/chartStyle" Target="style634.xml"/><Relationship Id="rId2" Type="http://schemas.microsoft.com/office/2011/relationships/chartColorStyle" Target="colors634.xml"/><Relationship Id="rId3"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microsoft.com/office/2011/relationships/chartStyle" Target="style635.xml"/><Relationship Id="rId2" Type="http://schemas.microsoft.com/office/2011/relationships/chartColorStyle" Target="colors635.xml"/><Relationship Id="rId3"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microsoft.com/office/2011/relationships/chartStyle" Target="style636.xml"/><Relationship Id="rId2" Type="http://schemas.microsoft.com/office/2011/relationships/chartColorStyle" Target="colors636.xml"/><Relationship Id="rId3"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microsoft.com/office/2011/relationships/chartStyle" Target="style637.xml"/><Relationship Id="rId2" Type="http://schemas.microsoft.com/office/2011/relationships/chartColorStyle" Target="colors637.xml"/><Relationship Id="rId3"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microsoft.com/office/2011/relationships/chartStyle" Target="style638.xml"/><Relationship Id="rId2" Type="http://schemas.microsoft.com/office/2011/relationships/chartColorStyle" Target="colors638.xml"/><Relationship Id="rId3"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microsoft.com/office/2011/relationships/chartStyle" Target="style639.xml"/><Relationship Id="rId2" Type="http://schemas.microsoft.com/office/2011/relationships/chartColorStyle" Target="colors639.xml"/><Relationship Id="rId3"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41.xml.rels><?xml version='1.0' encoding='UTF-8' standalone='yes'?>
<Relationships xmlns="http://schemas.openxmlformats.org/package/2006/relationships"><Relationship Id="rId1" Type="http://schemas.microsoft.com/office/2011/relationships/chartStyle" Target="style641.xml"/><Relationship Id="rId2" Type="http://schemas.microsoft.com/office/2011/relationships/chartColorStyle" Target="colors641.xml"/><Relationship Id="rId3"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microsoft.com/office/2011/relationships/chartStyle" Target="style642.xml"/><Relationship Id="rId2" Type="http://schemas.microsoft.com/office/2011/relationships/chartColorStyle" Target="colors642.xml"/><Relationship Id="rId3"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microsoft.com/office/2011/relationships/chartStyle" Target="style643.xml"/><Relationship Id="rId2" Type="http://schemas.microsoft.com/office/2011/relationships/chartColorStyle" Target="colors643.xml"/><Relationship Id="rId3"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microsoft.com/office/2011/relationships/chartStyle" Target="style644.xml"/><Relationship Id="rId2" Type="http://schemas.microsoft.com/office/2011/relationships/chartColorStyle" Target="colors644.xml"/><Relationship Id="rId3"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microsoft.com/office/2011/relationships/chartStyle" Target="style645.xml"/><Relationship Id="rId2" Type="http://schemas.microsoft.com/office/2011/relationships/chartColorStyle" Target="colors645.xml"/><Relationship Id="rId3"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microsoft.com/office/2011/relationships/chartStyle" Target="style646.xml"/><Relationship Id="rId2" Type="http://schemas.microsoft.com/office/2011/relationships/chartColorStyle" Target="colors646.xml"/><Relationship Id="rId3" Type="http://schemas.openxmlformats.org/officeDocument/2006/relationships/package" Target="../embeddings/Microsoft_Excel_Worksheet645.xlsx"/></Relationships>
</file>

<file path=ppt/charts/_rels/chart648.xml.rels><?xml version='1.0' encoding='UTF-8' standalone='yes'?>
<Relationships xmlns="http://schemas.openxmlformats.org/package/2006/relationships"><Relationship Id="rId1" Type="http://schemas.microsoft.com/office/2011/relationships/chartStyle" Target="style648.xml"/><Relationship Id="rId2" Type="http://schemas.microsoft.com/office/2011/relationships/chartColorStyle" Target="colors648.xml"/><Relationship Id="rId3"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microsoft.com/office/2011/relationships/chartStyle" Target="style649.xml"/><Relationship Id="rId2" Type="http://schemas.microsoft.com/office/2011/relationships/chartColorStyle" Target="colors649.xml"/><Relationship Id="rId3"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microsoft.com/office/2011/relationships/chartStyle" Target="style650.xml"/><Relationship Id="rId2" Type="http://schemas.microsoft.com/office/2011/relationships/chartColorStyle" Target="colors650.xml"/><Relationship Id="rId3" Type="http://schemas.openxmlformats.org/officeDocument/2006/relationships/package" Target="../embeddings/Microsoft_Excel_Worksheet649.xlsx"/></Relationships>
</file>

<file path=ppt/charts/_rels/chart652.xml.rels><?xml version='1.0' encoding='UTF-8' standalone='yes'?>
<Relationships xmlns="http://schemas.openxmlformats.org/package/2006/relationships"><Relationship Id="rId1" Type="http://schemas.microsoft.com/office/2011/relationships/chartStyle" Target="style652.xml"/><Relationship Id="rId2" Type="http://schemas.microsoft.com/office/2011/relationships/chartColorStyle" Target="colors652.xml"/><Relationship Id="rId3"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microsoft.com/office/2011/relationships/chartStyle" Target="style653.xml"/><Relationship Id="rId2" Type="http://schemas.microsoft.com/office/2011/relationships/chartColorStyle" Target="colors653.xml"/><Relationship Id="rId3"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microsoft.com/office/2011/relationships/chartStyle" Target="style654.xml"/><Relationship Id="rId2" Type="http://schemas.microsoft.com/office/2011/relationships/chartColorStyle" Target="colors654.xml"/><Relationship Id="rId3"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microsoft.com/office/2011/relationships/chartStyle" Target="style655.xml"/><Relationship Id="rId2" Type="http://schemas.microsoft.com/office/2011/relationships/chartColorStyle" Target="colors655.xml"/><Relationship Id="rId3"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microsoft.com/office/2011/relationships/chartStyle" Target="style656.xml"/><Relationship Id="rId2" Type="http://schemas.microsoft.com/office/2011/relationships/chartColorStyle" Target="colors656.xml"/><Relationship Id="rId3"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microsoft.com/office/2011/relationships/chartStyle" Target="style657.xml"/><Relationship Id="rId2" Type="http://schemas.microsoft.com/office/2011/relationships/chartColorStyle" Target="colors657.xml"/><Relationship Id="rId3" Type="http://schemas.openxmlformats.org/officeDocument/2006/relationships/package" Target="../embeddings/Microsoft_Excel_Worksheet656.xlsx"/></Relationships>
</file>

<file path=ppt/charts/_rels/chart659.xml.rels><?xml version='1.0' encoding='UTF-8' standalone='yes'?>
<Relationships xmlns="http://schemas.openxmlformats.org/package/2006/relationships"><Relationship Id="rId1" Type="http://schemas.microsoft.com/office/2011/relationships/chartStyle" Target="style659.xml"/><Relationship Id="rId2" Type="http://schemas.microsoft.com/office/2011/relationships/chartColorStyle" Target="colors659.xml"/><Relationship Id="rId3"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microsoft.com/office/2011/relationships/chartStyle" Target="style660.xml"/><Relationship Id="rId2" Type="http://schemas.microsoft.com/office/2011/relationships/chartColorStyle" Target="colors660.xml"/><Relationship Id="rId3"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microsoft.com/office/2011/relationships/chartStyle" Target="style661.xml"/><Relationship Id="rId2" Type="http://schemas.microsoft.com/office/2011/relationships/chartColorStyle" Target="colors661.xml"/><Relationship Id="rId3" Type="http://schemas.openxmlformats.org/officeDocument/2006/relationships/package" Target="../embeddings/Microsoft_Excel_Worksheet660.xlsx"/></Relationships>
</file>

<file path=ppt/charts/_rels/chart663.xml.rels><?xml version='1.0' encoding='UTF-8' standalone='yes'?>
<Relationships xmlns="http://schemas.openxmlformats.org/package/2006/relationships"><Relationship Id="rId1" Type="http://schemas.microsoft.com/office/2011/relationships/chartStyle" Target="style663.xml"/><Relationship Id="rId2" Type="http://schemas.microsoft.com/office/2011/relationships/chartColorStyle" Target="colors663.xml"/><Relationship Id="rId3"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microsoft.com/office/2011/relationships/chartStyle" Target="style664.xml"/><Relationship Id="rId2" Type="http://schemas.microsoft.com/office/2011/relationships/chartColorStyle" Target="colors664.xml"/><Relationship Id="rId3"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microsoft.com/office/2011/relationships/chartStyle" Target="style665.xml"/><Relationship Id="rId2" Type="http://schemas.microsoft.com/office/2011/relationships/chartColorStyle" Target="colors665.xml"/><Relationship Id="rId3"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microsoft.com/office/2011/relationships/chartStyle" Target="style666.xml"/><Relationship Id="rId2" Type="http://schemas.microsoft.com/office/2011/relationships/chartColorStyle" Target="colors666.xml"/><Relationship Id="rId3"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microsoft.com/office/2011/relationships/chartStyle" Target="style667.xml"/><Relationship Id="rId2" Type="http://schemas.microsoft.com/office/2011/relationships/chartColorStyle" Target="colors667.xml"/><Relationship Id="rId3"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microsoft.com/office/2011/relationships/chartStyle" Target="style668.xml"/><Relationship Id="rId2" Type="http://schemas.microsoft.com/office/2011/relationships/chartColorStyle" Target="colors668.xml"/><Relationship Id="rId3" Type="http://schemas.openxmlformats.org/officeDocument/2006/relationships/package" Target="../embeddings/Microsoft_Excel_Worksheet667.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microsoft.com/office/2011/relationships/chartStyle" Target="style670.xml"/><Relationship Id="rId2" Type="http://schemas.microsoft.com/office/2011/relationships/chartColorStyle" Target="colors670.xml"/><Relationship Id="rId3"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microsoft.com/office/2011/relationships/chartStyle" Target="style671.xml"/><Relationship Id="rId2" Type="http://schemas.microsoft.com/office/2011/relationships/chartColorStyle" Target="colors671.xml"/><Relationship Id="rId3"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microsoft.com/office/2011/relationships/chartStyle" Target="style672.xml"/><Relationship Id="rId2" Type="http://schemas.microsoft.com/office/2011/relationships/chartColorStyle" Target="colors672.xml"/><Relationship Id="rId3" Type="http://schemas.openxmlformats.org/officeDocument/2006/relationships/package" Target="../embeddings/Microsoft_Excel_Worksheet671.xlsx"/></Relationships>
</file>

<file path=ppt/charts/_rels/chart674.xml.rels><?xml version='1.0' encoding='UTF-8' standalone='yes'?>
<Relationships xmlns="http://schemas.openxmlformats.org/package/2006/relationships"><Relationship Id="rId1" Type="http://schemas.microsoft.com/office/2011/relationships/chartStyle" Target="style674.xml"/><Relationship Id="rId2" Type="http://schemas.microsoft.com/office/2011/relationships/chartColorStyle" Target="colors674.xml"/><Relationship Id="rId3"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microsoft.com/office/2011/relationships/chartStyle" Target="style675.xml"/><Relationship Id="rId2" Type="http://schemas.microsoft.com/office/2011/relationships/chartColorStyle" Target="colors675.xml"/><Relationship Id="rId3"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microsoft.com/office/2011/relationships/chartStyle" Target="style676.xml"/><Relationship Id="rId2" Type="http://schemas.microsoft.com/office/2011/relationships/chartColorStyle" Target="colors676.xml"/><Relationship Id="rId3"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microsoft.com/office/2011/relationships/chartStyle" Target="style677.xml"/><Relationship Id="rId2" Type="http://schemas.microsoft.com/office/2011/relationships/chartColorStyle" Target="colors677.xml"/><Relationship Id="rId3"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microsoft.com/office/2011/relationships/chartStyle" Target="style678.xml"/><Relationship Id="rId2" Type="http://schemas.microsoft.com/office/2011/relationships/chartColorStyle" Target="colors678.xml"/><Relationship Id="rId3"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microsoft.com/office/2011/relationships/chartStyle" Target="style679.xml"/><Relationship Id="rId2" Type="http://schemas.microsoft.com/office/2011/relationships/chartColorStyle" Target="colors679.xml"/><Relationship Id="rId3"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81.xml.rels><?xml version='1.0' encoding='UTF-8' standalone='yes'?>
<Relationships xmlns="http://schemas.openxmlformats.org/package/2006/relationships"><Relationship Id="rId1" Type="http://schemas.microsoft.com/office/2011/relationships/chartStyle" Target="style681.xml"/><Relationship Id="rId2" Type="http://schemas.microsoft.com/office/2011/relationships/chartColorStyle" Target="colors681.xml"/><Relationship Id="rId3"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microsoft.com/office/2011/relationships/chartStyle" Target="style682.xml"/><Relationship Id="rId2" Type="http://schemas.microsoft.com/office/2011/relationships/chartColorStyle" Target="colors682.xml"/><Relationship Id="rId3"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microsoft.com/office/2011/relationships/chartStyle" Target="style683.xml"/><Relationship Id="rId2" Type="http://schemas.microsoft.com/office/2011/relationships/chartColorStyle" Target="colors683.xml"/><Relationship Id="rId3" Type="http://schemas.openxmlformats.org/officeDocument/2006/relationships/package" Target="../embeddings/Microsoft_Excel_Worksheet682.xlsx"/></Relationships>
</file>

<file path=ppt/charts/_rels/chart685.xml.rels><?xml version='1.0' encoding='UTF-8' standalone='yes'?>
<Relationships xmlns="http://schemas.openxmlformats.org/package/2006/relationships"><Relationship Id="rId1" Type="http://schemas.microsoft.com/office/2011/relationships/chartStyle" Target="style685.xml"/><Relationship Id="rId2" Type="http://schemas.microsoft.com/office/2011/relationships/chartColorStyle" Target="colors685.xml"/><Relationship Id="rId3"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microsoft.com/office/2011/relationships/chartStyle" Target="style686.xml"/><Relationship Id="rId2" Type="http://schemas.microsoft.com/office/2011/relationships/chartColorStyle" Target="colors686.xml"/><Relationship Id="rId3"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microsoft.com/office/2011/relationships/chartStyle" Target="style687.xml"/><Relationship Id="rId2" Type="http://schemas.microsoft.com/office/2011/relationships/chartColorStyle" Target="colors687.xml"/><Relationship Id="rId3"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microsoft.com/office/2011/relationships/chartStyle" Target="style688.xml"/><Relationship Id="rId2" Type="http://schemas.microsoft.com/office/2011/relationships/chartColorStyle" Target="colors688.xml"/><Relationship Id="rId3"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microsoft.com/office/2011/relationships/chartStyle" Target="style689.xml"/><Relationship Id="rId2" Type="http://schemas.microsoft.com/office/2011/relationships/chartColorStyle" Target="colors689.xml"/><Relationship Id="rId3"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microsoft.com/office/2011/relationships/chartStyle" Target="style690.xml"/><Relationship Id="rId2" Type="http://schemas.microsoft.com/office/2011/relationships/chartColorStyle" Target="colors690.xml"/><Relationship Id="rId3" Type="http://schemas.openxmlformats.org/officeDocument/2006/relationships/package" Target="../embeddings/Microsoft_Excel_Worksheet689.xlsx"/></Relationships>
</file>

<file path=ppt/charts/_rels/chart692.xml.rels><?xml version='1.0' encoding='UTF-8' standalone='yes'?>
<Relationships xmlns="http://schemas.openxmlformats.org/package/2006/relationships"><Relationship Id="rId1" Type="http://schemas.microsoft.com/office/2011/relationships/chartStyle" Target="style692.xml"/><Relationship Id="rId2" Type="http://schemas.microsoft.com/office/2011/relationships/chartColorStyle" Target="colors692.xml"/><Relationship Id="rId3"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microsoft.com/office/2011/relationships/chartStyle" Target="style693.xml"/><Relationship Id="rId2" Type="http://schemas.microsoft.com/office/2011/relationships/chartColorStyle" Target="colors693.xml"/><Relationship Id="rId3"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microsoft.com/office/2011/relationships/chartStyle" Target="style694.xml"/><Relationship Id="rId2" Type="http://schemas.microsoft.com/office/2011/relationships/chartColorStyle" Target="colors694.xml"/><Relationship Id="rId3" Type="http://schemas.openxmlformats.org/officeDocument/2006/relationships/package" Target="../embeddings/Microsoft_Excel_Worksheet693.xlsx"/></Relationships>
</file>

<file path=ppt/charts/_rels/chart697.xml.rels><?xml version='1.0' encoding='UTF-8' standalone='yes'?>
<Relationships xmlns="http://schemas.openxmlformats.org/package/2006/relationships"><Relationship Id="rId1" Type="http://schemas.microsoft.com/office/2011/relationships/chartStyle" Target="style697.xml"/><Relationship Id="rId2" Type="http://schemas.microsoft.com/office/2011/relationships/chartColorStyle" Target="colors697.xml"/><Relationship Id="rId3"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microsoft.com/office/2011/relationships/chartStyle" Target="style698.xml"/><Relationship Id="rId2" Type="http://schemas.microsoft.com/office/2011/relationships/chartColorStyle" Target="colors698.xml"/><Relationship Id="rId3"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microsoft.com/office/2011/relationships/chartStyle" Target="style699.xml"/><Relationship Id="rId2" Type="http://schemas.microsoft.com/office/2011/relationships/chartColorStyle" Target="colors699.xml"/><Relationship Id="rId3"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4.0</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79.0</a:t>
                    </a:r>
                  </a:p>
                </c:rich>
              </c:tx>
              <c:showLegendKey val="0"/>
              <c:showVal val="1"/>
              <c:showCatName val="0"/>
              <c:showSerName val="0"/>
              <c:showPercent val="0"/>
              <c:showBubbleSize val="0"/>
            </c:dLbl>
            <c:dLbl>
              <c:idx val="14"/>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Tanning Tanning Adults Cosmetics Spray Aceite 0 - 5 237Ml</c:v>
                </c:pt>
                <c:pt idx="14">
                  <c:v>Edgewell Banana Boat Ultra Sunscreen Adults Sport Roll-On 60+ 75Ml</c:v>
                </c:pt>
              </c:strCache>
            </c:strRef>
          </c:cat>
          <c:val>
            <c:numRef>
              <c:f>Sheet1!$B$2:$B$16</c:f>
              <c:numCache>
                <c:formatCode>General</c:formatCode>
                <c:ptCount val="15"/>
                <c:pt idx="0">
                  <c:v>310.0</c:v>
                </c:pt>
                <c:pt idx="1">
                  <c:v>105.0</c:v>
                </c:pt>
                <c:pt idx="2">
                  <c:v>305.0</c:v>
                </c:pt>
                <c:pt idx="3">
                  <c:v>349.0</c:v>
                </c:pt>
                <c:pt idx="4">
                  <c:v>305.0</c:v>
                </c:pt>
                <c:pt idx="5">
                  <c:v>364.0</c:v>
                </c:pt>
                <c:pt idx="6">
                  <c:v>305.0</c:v>
                </c:pt>
                <c:pt idx="7">
                  <c:v>335.0</c:v>
                </c:pt>
                <c:pt idx="8">
                  <c:v>385.0</c:v>
                </c:pt>
                <c:pt idx="9">
                  <c:v>305.0</c:v>
                </c:pt>
                <c:pt idx="10">
                  <c:v>310.0</c:v>
                </c:pt>
                <c:pt idx="11">
                  <c:v>249.0</c:v>
                </c:pt>
                <c:pt idx="12">
                  <c:v>242.0</c:v>
                </c:pt>
                <c:pt idx="13">
                  <c:v>279.0</c:v>
                </c:pt>
                <c:pt idx="14">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249.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Cosmetics Spray Crema 50+ 220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Ultra Sunscreen Adults Sport Roll-On 60+ 75Ml</c:v>
                </c:pt>
              </c:strCache>
            </c:strRef>
          </c:cat>
          <c:val>
            <c:numRef>
              <c:f>Sheet1!$B$2:$B$15</c:f>
              <c:numCache>
                <c:formatCode>General</c:formatCode>
                <c:ptCount val="14"/>
                <c:pt idx="0">
                  <c:v>310.0</c:v>
                </c:pt>
                <c:pt idx="1">
                  <c:v>305.0</c:v>
                </c:pt>
                <c:pt idx="2">
                  <c:v>349.0</c:v>
                </c:pt>
                <c:pt idx="3">
                  <c:v>305.0</c:v>
                </c:pt>
                <c:pt idx="4">
                  <c:v>367.5</c:v>
                </c:pt>
                <c:pt idx="5">
                  <c:v>305.0</c:v>
                </c:pt>
                <c:pt idx="6">
                  <c:v>249.0</c:v>
                </c:pt>
                <c:pt idx="7">
                  <c:v>335.0</c:v>
                </c:pt>
                <c:pt idx="8">
                  <c:v>385.0</c:v>
                </c:pt>
                <c:pt idx="9">
                  <c:v>305.0</c:v>
                </c:pt>
                <c:pt idx="10">
                  <c:v>310.0</c:v>
                </c:pt>
                <c:pt idx="11">
                  <c:v>249.0</c:v>
                </c:pt>
                <c:pt idx="12">
                  <c:v>242.0</c:v>
                </c:pt>
                <c:pt idx="13">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Carrot Tanning Adults Cosmetics Crema 10 - 14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9.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dLbl>
              <c:idx val="12"/>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Adults Sport Locion 50 180Ml</c:v>
                </c:pt>
                <c:pt idx="11">
                  <c:v>Edgewell Banana Boat Mineral Sunscreen Kids Cosmetics Locion 50 180Ml</c:v>
                </c:pt>
                <c:pt idx="12">
                  <c:v>Edgewell Banana Boat Ultra Sunscreen Adults Sport Roll-On 60+ 75Ml</c:v>
                </c:pt>
              </c:strCache>
            </c:strRef>
          </c:cat>
          <c:val>
            <c:numRef>
              <c:f>Sheet1!$B$2:$B$14</c:f>
              <c:numCache>
                <c:formatCode>General</c:formatCode>
                <c:ptCount val="13"/>
                <c:pt idx="0">
                  <c:v>310.0</c:v>
                </c:pt>
                <c:pt idx="1">
                  <c:v>305.0</c:v>
                </c:pt>
                <c:pt idx="2">
                  <c:v>349.0</c:v>
                </c:pt>
                <c:pt idx="3">
                  <c:v>305.0</c:v>
                </c:pt>
                <c:pt idx="4">
                  <c:v>367.5</c:v>
                </c:pt>
                <c:pt idx="5">
                  <c:v>305.0</c:v>
                </c:pt>
                <c:pt idx="6">
                  <c:v>335.0</c:v>
                </c:pt>
                <c:pt idx="7">
                  <c:v>385.0</c:v>
                </c:pt>
                <c:pt idx="8">
                  <c:v>305.0</c:v>
                </c:pt>
                <c:pt idx="9">
                  <c:v>310.0</c:v>
                </c:pt>
                <c:pt idx="10">
                  <c:v>249.0</c:v>
                </c:pt>
                <c:pt idx="11">
                  <c:v>242.0</c:v>
                </c:pt>
                <c:pt idx="12">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Carrot Tanning Adults Cosmetics Crema 10 - 14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85.0</a:t>
                    </a:r>
                  </a:p>
                </c:rich>
              </c:tx>
              <c:showLegendKey val="0"/>
              <c:showVal val="1"/>
              <c:showCatName val="0"/>
              <c:showSerName val="0"/>
              <c:showPercent val="0"/>
              <c:showBubbleSize val="0"/>
            </c:dLbl>
            <c:dLbl>
              <c:idx val="5"/>
              <c:tx>
                <c:rich>
                  <a:bodyPr/>
                  <a:lstStyle/>
                  <a:p>
                    <a:r>
                      <a:t>205.0</a:t>
                    </a:r>
                  </a:p>
                </c:rich>
              </c:tx>
              <c:showLegendKey val="0"/>
              <c:showVal val="1"/>
              <c:showCatName val="0"/>
              <c:showSerName val="0"/>
              <c:showPercent val="0"/>
              <c:showBubbleSize val="0"/>
            </c:dLbl>
            <c:dLbl>
              <c:idx val="6"/>
              <c:tx>
                <c:rich>
                  <a:bodyPr/>
                  <a:lstStyle/>
                  <a:p>
                    <a:r>
                      <a:t>105.0</a:t>
                    </a:r>
                  </a:p>
                </c:rich>
              </c:tx>
              <c:showLegendKey val="0"/>
              <c:showVal val="1"/>
              <c:showCatName val="0"/>
              <c:showSerName val="0"/>
              <c:showPercent val="0"/>
              <c:showBubbleSize val="0"/>
            </c:dLbl>
            <c:dLbl>
              <c:idx val="7"/>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Hawaiian Tropic Island Sport Sunscreen Adults Sport Liquido 50 60Ml</c:v>
                </c:pt>
                <c:pt idx="1">
                  <c:v>Edgewell Hawaiian Tropic Other Sunscreen Adults Cosmetics Crema 50+ 240Ml</c:v>
                </c:pt>
                <c:pt idx="2">
                  <c:v>Edgewell Hawaiian Tropic Ozono Sunscreen Adults Cosmetics Liquido 50+ 180Ml</c:v>
                </c:pt>
                <c:pt idx="3">
                  <c:v>Edgewell Hawaiian Tropic Ozono Sunscreen Adults Cosmetics Liquido 50+ 240Ml</c:v>
                </c:pt>
                <c:pt idx="4">
                  <c:v>Edgewell Hawaiian Tropic Ozono Sunscreen Adults Cosmetics Spray Liquido 50+ 180Ml</c:v>
                </c:pt>
                <c:pt idx="5">
                  <c:v>Edgewell Hawaiian Tropic Sheer Touch Sunscreen Adults Cosmetics Crema 50 120Ml</c:v>
                </c:pt>
                <c:pt idx="6">
                  <c:v>Edgewell Hawaiian Tropic Sheer Touch Sunscreen Adults Cosmetics Liquido 30 - 49 60Ml</c:v>
                </c:pt>
                <c:pt idx="7">
                  <c:v>Edgewell Hawaiian Tropic Tanning Sunscreen Adults Cosmetics Spray Liquido 15 - 19 220Ml</c:v>
                </c:pt>
              </c:strCache>
            </c:strRef>
          </c:cat>
          <c:val>
            <c:numRef>
              <c:f>Sheet1!$B$2:$B$9</c:f>
              <c:numCache>
                <c:formatCode>General</c:formatCode>
                <c:ptCount val="8"/>
                <c:pt idx="0">
                  <c:v>105.0</c:v>
                </c:pt>
                <c:pt idx="1">
                  <c:v>350.0</c:v>
                </c:pt>
                <c:pt idx="2">
                  <c:v>350.0</c:v>
                </c:pt>
                <c:pt idx="3">
                  <c:v>350.0</c:v>
                </c:pt>
                <c:pt idx="4">
                  <c:v>385.0</c:v>
                </c:pt>
                <c:pt idx="5">
                  <c:v>205.0</c:v>
                </c:pt>
                <c:pt idx="6">
                  <c:v>105.0</c:v>
                </c:pt>
                <c:pt idx="7">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8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305.0</a:t>
                    </a:r>
                  </a:p>
                </c:rich>
              </c:tx>
              <c:showLegendKey val="0"/>
              <c:showVal val="1"/>
              <c:showCatName val="0"/>
              <c:showSerName val="0"/>
              <c:showPercent val="0"/>
              <c:showBubbleSize val="0"/>
            </c:dLbl>
            <c:dLbl>
              <c:idx val="8"/>
              <c:tx>
                <c:rich>
                  <a:bodyPr/>
                  <a:lstStyle/>
                  <a:p>
                    <a:r>
                      <a:t>310.0</a:t>
                    </a:r>
                  </a:p>
                </c:rich>
              </c:tx>
              <c:showLegendKey val="0"/>
              <c:showVal val="1"/>
              <c:showCatName val="0"/>
              <c:showSerName val="0"/>
              <c:showPercent val="0"/>
              <c:showBubbleSize val="0"/>
            </c:dLbl>
            <c:dLbl>
              <c:idx val="9"/>
              <c:tx>
                <c:rich>
                  <a:bodyPr/>
                  <a:lstStyle/>
                  <a:p>
                    <a:r>
                      <a:t>249.0</a:t>
                    </a:r>
                  </a:p>
                </c:rich>
              </c:tx>
              <c:showLegendKey val="0"/>
              <c:showVal val="1"/>
              <c:showCatName val="0"/>
              <c:showSerName val="0"/>
              <c:showPercent val="0"/>
              <c:showBubbleSize val="0"/>
            </c:dLbl>
            <c:dLbl>
              <c:idx val="10"/>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Spray Liquido 50 220Ml</c:v>
                </c:pt>
                <c:pt idx="7">
                  <c:v>Edgewell Banana Boat Kids Sport Sunscreen Kids Cosmetics Crema 50 180Ml</c:v>
                </c:pt>
                <c:pt idx="8">
                  <c:v>Edgewell Banana Boat Mineral Sunscreen Adults Cosmetics Locion 50 60Ml</c:v>
                </c:pt>
                <c:pt idx="9">
                  <c:v>Edgewell Banana Boat Mineral Sunscreen Adults Sport Locion 50 180Ml</c:v>
                </c:pt>
                <c:pt idx="10">
                  <c:v>Edgewell Banana Boat Mineral Sunscreen Kids Cosmetics Locion 50 180Ml</c:v>
                </c:pt>
              </c:strCache>
            </c:strRef>
          </c:cat>
          <c:val>
            <c:numRef>
              <c:f>Sheet1!$B$2:$B$12</c:f>
              <c:numCache>
                <c:formatCode>General</c:formatCode>
                <c:ptCount val="11"/>
                <c:pt idx="0">
                  <c:v>310.0</c:v>
                </c:pt>
                <c:pt idx="1">
                  <c:v>305.0</c:v>
                </c:pt>
                <c:pt idx="2">
                  <c:v>349.0</c:v>
                </c:pt>
                <c:pt idx="3">
                  <c:v>305.0</c:v>
                </c:pt>
                <c:pt idx="4">
                  <c:v>385.0</c:v>
                </c:pt>
                <c:pt idx="5">
                  <c:v>305.0</c:v>
                </c:pt>
                <c:pt idx="6">
                  <c:v>385.0</c:v>
                </c:pt>
                <c:pt idx="7">
                  <c:v>305.0</c:v>
                </c:pt>
                <c:pt idx="8">
                  <c:v>310.0</c:v>
                </c:pt>
                <c:pt idx="9">
                  <c:v>249.0</c:v>
                </c:pt>
                <c:pt idx="10">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Carrot Tanning Adults Cosmetics Crema 10 - 14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76.25</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79.0</a:t>
                    </a:r>
                  </a:p>
                </c:rich>
              </c:tx>
              <c:showLegendKey val="0"/>
              <c:showVal val="1"/>
              <c:showCatName val="0"/>
              <c:showSerName val="0"/>
              <c:showPercent val="0"/>
              <c:showBubbleSize val="0"/>
            </c:dLbl>
            <c:dLbl>
              <c:idx val="14"/>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Tanning Tanning Adults Cosmetics Spray Aceite 0 - 5 237Ml</c:v>
                </c:pt>
                <c:pt idx="14">
                  <c:v>Edgewell Banana Boat Ultra Sunscreen Adults Sport Roll-On 60+ 75Ml</c:v>
                </c:pt>
              </c:strCache>
            </c:strRef>
          </c:cat>
          <c:val>
            <c:numRef>
              <c:f>Sheet1!$B$2:$B$16</c:f>
              <c:numCache>
                <c:formatCode>General</c:formatCode>
                <c:ptCount val="15"/>
                <c:pt idx="0">
                  <c:v>310.0</c:v>
                </c:pt>
                <c:pt idx="1">
                  <c:v>105.0</c:v>
                </c:pt>
                <c:pt idx="2">
                  <c:v>305.0</c:v>
                </c:pt>
                <c:pt idx="3">
                  <c:v>349.0</c:v>
                </c:pt>
                <c:pt idx="4">
                  <c:v>305.0</c:v>
                </c:pt>
                <c:pt idx="5">
                  <c:v>376.25</c:v>
                </c:pt>
                <c:pt idx="6">
                  <c:v>305.0</c:v>
                </c:pt>
                <c:pt idx="7">
                  <c:v>335.0</c:v>
                </c:pt>
                <c:pt idx="8">
                  <c:v>385.0</c:v>
                </c:pt>
                <c:pt idx="9">
                  <c:v>305.0</c:v>
                </c:pt>
                <c:pt idx="10">
                  <c:v>310.0</c:v>
                </c:pt>
                <c:pt idx="11">
                  <c:v>249.0</c:v>
                </c:pt>
                <c:pt idx="12">
                  <c:v>242.0</c:v>
                </c:pt>
                <c:pt idx="13">
                  <c:v>279.0</c:v>
                </c:pt>
                <c:pt idx="14">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8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9.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Adults Sport Locion 50 180Ml</c:v>
                </c:pt>
                <c:pt idx="11">
                  <c:v>Edgewell Banana Boat Mineral Sunscreen Kids Cosmetics Locion 50 180Ml</c:v>
                </c:pt>
              </c:strCache>
            </c:strRef>
          </c:cat>
          <c:val>
            <c:numRef>
              <c:f>Sheet1!$B$2:$B$13</c:f>
              <c:numCache>
                <c:formatCode>General</c:formatCode>
                <c:ptCount val="12"/>
                <c:pt idx="0">
                  <c:v>310.0</c:v>
                </c:pt>
                <c:pt idx="1">
                  <c:v>305.0</c:v>
                </c:pt>
                <c:pt idx="2">
                  <c:v>349.0</c:v>
                </c:pt>
                <c:pt idx="3">
                  <c:v>305.0</c:v>
                </c:pt>
                <c:pt idx="4">
                  <c:v>385.0</c:v>
                </c:pt>
                <c:pt idx="5">
                  <c:v>305.0</c:v>
                </c:pt>
                <c:pt idx="6">
                  <c:v>335.0</c:v>
                </c:pt>
                <c:pt idx="7">
                  <c:v>385.0</c:v>
                </c:pt>
                <c:pt idx="8">
                  <c:v>305.0</c:v>
                </c:pt>
                <c:pt idx="9">
                  <c:v>310.0</c:v>
                </c:pt>
                <c:pt idx="10">
                  <c:v>249.0</c:v>
                </c:pt>
                <c:pt idx="11">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Carrot Tanning Adults Cosmetics Crema 10 - 14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9.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dLbl>
              <c:idx val="12"/>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Adults Sport Locion 50 180Ml</c:v>
                </c:pt>
                <c:pt idx="11">
                  <c:v>Edgewell Banana Boat Mineral Sunscreen Kids Cosmetics Locion 50 180Ml</c:v>
                </c:pt>
                <c:pt idx="12">
                  <c:v>Edgewell Banana Boat Ultra Sunscreen Adults Sport Roll-On 60+ 75Ml</c:v>
                </c:pt>
              </c:strCache>
            </c:strRef>
          </c:cat>
          <c:val>
            <c:numRef>
              <c:f>Sheet1!$B$2:$B$14</c:f>
              <c:numCache>
                <c:formatCode>General</c:formatCode>
                <c:ptCount val="13"/>
                <c:pt idx="0">
                  <c:v>310.0</c:v>
                </c:pt>
                <c:pt idx="1">
                  <c:v>305.0</c:v>
                </c:pt>
                <c:pt idx="2">
                  <c:v>349.0</c:v>
                </c:pt>
                <c:pt idx="3">
                  <c:v>305.0</c:v>
                </c:pt>
                <c:pt idx="4">
                  <c:v>367.5</c:v>
                </c:pt>
                <c:pt idx="5">
                  <c:v>305.0</c:v>
                </c:pt>
                <c:pt idx="6">
                  <c:v>335.0</c:v>
                </c:pt>
                <c:pt idx="7">
                  <c:v>385.0</c:v>
                </c:pt>
                <c:pt idx="8">
                  <c:v>305.0</c:v>
                </c:pt>
                <c:pt idx="9">
                  <c:v>310.0</c:v>
                </c:pt>
                <c:pt idx="10">
                  <c:v>249.0</c:v>
                </c:pt>
                <c:pt idx="11">
                  <c:v>242.0</c:v>
                </c:pt>
                <c:pt idx="12">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Carrot Tanning Adults Cosmetics Crema 10 - 14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strCache>
            </c:strRef>
          </c:cat>
          <c:val>
            <c:numRef>
              <c:f>Sheet1!$B$2:$B$11</c:f>
              <c:numCache>
                <c:formatCode>General</c:formatCode>
                <c:ptCount val="10"/>
                <c:pt idx="0">
                  <c:v>105.0</c:v>
                </c:pt>
                <c:pt idx="1">
                  <c:v>350.0</c:v>
                </c:pt>
                <c:pt idx="2">
                  <c:v>205.0</c:v>
                </c:pt>
                <c:pt idx="3">
                  <c:v>350.0</c:v>
                </c:pt>
                <c:pt idx="4">
                  <c:v>350.0</c:v>
                </c:pt>
                <c:pt idx="5">
                  <c:v>125.0</c:v>
                </c:pt>
                <c:pt idx="6">
                  <c:v>385.0</c:v>
                </c:pt>
                <c:pt idx="7">
                  <c:v>299.0</c:v>
                </c:pt>
                <c:pt idx="8">
                  <c:v>205.0</c:v>
                </c:pt>
                <c:pt idx="9">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9.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Adults Sport Locion 50 180Ml</c:v>
                </c:pt>
                <c:pt idx="11">
                  <c:v>Edgewell Banana Boat Mineral Sunscreen Kids Cosmetics Locion 50 180Ml</c:v>
                </c:pt>
              </c:strCache>
            </c:strRef>
          </c:cat>
          <c:val>
            <c:numRef>
              <c:f>Sheet1!$B$2:$B$13</c:f>
              <c:numCache>
                <c:formatCode>General</c:formatCode>
                <c:ptCount val="12"/>
                <c:pt idx="0">
                  <c:v>310.0</c:v>
                </c:pt>
                <c:pt idx="1">
                  <c:v>305.0</c:v>
                </c:pt>
                <c:pt idx="2">
                  <c:v>349.0</c:v>
                </c:pt>
                <c:pt idx="3">
                  <c:v>305.0</c:v>
                </c:pt>
                <c:pt idx="4">
                  <c:v>350.0</c:v>
                </c:pt>
                <c:pt idx="5">
                  <c:v>305.0</c:v>
                </c:pt>
                <c:pt idx="6">
                  <c:v>335.0</c:v>
                </c:pt>
                <c:pt idx="7">
                  <c:v>385.0</c:v>
                </c:pt>
                <c:pt idx="8">
                  <c:v>305.0</c:v>
                </c:pt>
                <c:pt idx="9">
                  <c:v>310.0</c:v>
                </c:pt>
                <c:pt idx="10">
                  <c:v>249.0</c:v>
                </c:pt>
                <c:pt idx="11">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Carrot Tanning Adults Cosmetics Crema 10 - 14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9.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dLbl>
              <c:idx val="12"/>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Adults Sport Locion 50 180Ml</c:v>
                </c:pt>
                <c:pt idx="11">
                  <c:v>Edgewell Banana Boat Mineral Sunscreen Kids Cosmetics Locion 50 180Ml</c:v>
                </c:pt>
                <c:pt idx="12">
                  <c:v>Edgewell Banana Boat Ultra Sunscreen Adults Sport Roll-On 60+ 75Ml</c:v>
                </c:pt>
              </c:strCache>
            </c:strRef>
          </c:cat>
          <c:val>
            <c:numRef>
              <c:f>Sheet1!$B$2:$B$14</c:f>
              <c:numCache>
                <c:formatCode>General</c:formatCode>
                <c:ptCount val="13"/>
                <c:pt idx="0">
                  <c:v>310.0</c:v>
                </c:pt>
                <c:pt idx="1">
                  <c:v>305.0</c:v>
                </c:pt>
                <c:pt idx="2">
                  <c:v>349.0</c:v>
                </c:pt>
                <c:pt idx="3">
                  <c:v>305.0</c:v>
                </c:pt>
                <c:pt idx="4">
                  <c:v>367.5</c:v>
                </c:pt>
                <c:pt idx="5">
                  <c:v>305.0</c:v>
                </c:pt>
                <c:pt idx="6">
                  <c:v>335.0</c:v>
                </c:pt>
                <c:pt idx="7">
                  <c:v>385.0</c:v>
                </c:pt>
                <c:pt idx="8">
                  <c:v>305.0</c:v>
                </c:pt>
                <c:pt idx="9">
                  <c:v>310.0</c:v>
                </c:pt>
                <c:pt idx="10">
                  <c:v>249.0</c:v>
                </c:pt>
                <c:pt idx="11">
                  <c:v>242.0</c:v>
                </c:pt>
                <c:pt idx="12">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1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205.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12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299.0</a:t>
                    </a:r>
                  </a:p>
                </c:rich>
              </c:tx>
              <c:showLegendKey val="0"/>
              <c:showVal val="1"/>
              <c:showCatName val="0"/>
              <c:showSerName val="0"/>
              <c:showPercent val="0"/>
              <c:showBubbleSize val="0"/>
            </c:dLbl>
            <c:dLbl>
              <c:idx val="9"/>
              <c:tx>
                <c:rich>
                  <a:bodyPr/>
                  <a:lstStyle/>
                  <a:p>
                    <a:r>
                      <a:t>205.0</a:t>
                    </a:r>
                  </a:p>
                </c:rich>
              </c:tx>
              <c:showLegendKey val="0"/>
              <c:showVal val="1"/>
              <c:showCatName val="0"/>
              <c:showSerName val="0"/>
              <c:showPercent val="0"/>
              <c:showBubbleSize val="0"/>
            </c:dLbl>
            <c:dLbl>
              <c:idx val="1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After Sun After Sun Adults Cosmetics Gel 0 - 5 240Ml</c:v>
                </c:pt>
                <c:pt idx="1">
                  <c:v>Edgewell Hawaiian Tropic Carrot Tanning Adults Cosmetics Crema 10 - 14 240Ml</c:v>
                </c:pt>
                <c:pt idx="2">
                  <c:v>Edgewell Hawaiian Tropic Island Sport Sunscreen Adults Sport Liquido 50 60Ml</c:v>
                </c:pt>
                <c:pt idx="3">
                  <c:v>Edgewell Hawaiian Tropic Other Sunscreen Adults Cosmetics Crema 50+ 240Ml</c:v>
                </c:pt>
                <c:pt idx="4">
                  <c:v>Edgewell Hawaiian Tropic Ozono Sunscreen Adults Cosmetics Liquido 50+ 120Ml</c:v>
                </c:pt>
                <c:pt idx="5">
                  <c:v>Edgewell Hawaiian Tropic Ozono Sunscreen Adults Cosmetics Liquido 50+ 240Ml</c:v>
                </c:pt>
                <c:pt idx="6">
                  <c:v>Edgewell Hawaiian Tropic Ozono Sunscreen Adults Cosmetics Liquido 50+ 90Ml</c:v>
                </c:pt>
                <c:pt idx="7">
                  <c:v>Edgewell Hawaiian Tropic Ozono Sunscreen Adults Cosmetics Spray Liquido 50+ 180Ml</c:v>
                </c:pt>
                <c:pt idx="8">
                  <c:v>Edgewell Hawaiian Tropic Sheer Touch Sunscreen Adults Cosmetics Crema 30 - 49 240Ml</c:v>
                </c:pt>
                <c:pt idx="9">
                  <c:v>Edgewell Hawaiian Tropic Sheer Touch Sunscreen Adults Cosmetics Crema 50 120Ml</c:v>
                </c:pt>
                <c:pt idx="10">
                  <c:v>Edgewell Hawaiian Tropic Sheer Touch Sunscreen Adults Cosmetics Liquido 30 - 49 60Ml</c:v>
                </c:pt>
              </c:strCache>
            </c:strRef>
          </c:cat>
          <c:val>
            <c:numRef>
              <c:f>Sheet1!$B$2:$B$12</c:f>
              <c:numCache>
                <c:formatCode>General</c:formatCode>
                <c:ptCount val="11"/>
                <c:pt idx="0">
                  <c:v>299.0</c:v>
                </c:pt>
                <c:pt idx="1">
                  <c:v>299.0</c:v>
                </c:pt>
                <c:pt idx="2">
                  <c:v>105.0</c:v>
                </c:pt>
                <c:pt idx="3">
                  <c:v>350.0</c:v>
                </c:pt>
                <c:pt idx="4">
                  <c:v>205.0</c:v>
                </c:pt>
                <c:pt idx="5">
                  <c:v>350.0</c:v>
                </c:pt>
                <c:pt idx="6">
                  <c:v>125.0</c:v>
                </c:pt>
                <c:pt idx="7">
                  <c:v>385.0</c:v>
                </c:pt>
                <c:pt idx="8">
                  <c:v>299.0</c:v>
                </c:pt>
                <c:pt idx="9">
                  <c:v>205.0</c:v>
                </c:pt>
                <c:pt idx="1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Carrot Tanning Adults Cosmetics Crema 10 - 14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24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Sheer Touch Sunscreen Adults Cosmetics Crema 50 120Ml</c:v>
                </c:pt>
                <c:pt idx="8">
                  <c:v>Edgewell Hawaiian Tropic Sheer Touch Sunscreen Adults Cosmetics Liquido 30 - 49 60Ml</c:v>
                </c:pt>
              </c:strCache>
            </c:strRef>
          </c:cat>
          <c:val>
            <c:numRef>
              <c:f>Sheet1!$B$2:$B$10</c:f>
              <c:numCache>
                <c:formatCode>General</c:formatCode>
                <c:ptCount val="9"/>
                <c:pt idx="0">
                  <c:v>105.0</c:v>
                </c:pt>
                <c:pt idx="1">
                  <c:v>350.0</c:v>
                </c:pt>
                <c:pt idx="2">
                  <c:v>205.0</c:v>
                </c:pt>
                <c:pt idx="3">
                  <c:v>350.0</c:v>
                </c:pt>
                <c:pt idx="4">
                  <c:v>125.0</c:v>
                </c:pt>
                <c:pt idx="5">
                  <c:v>385.0</c:v>
                </c:pt>
                <c:pt idx="6">
                  <c:v>299.0</c:v>
                </c:pt>
                <c:pt idx="7">
                  <c:v>205.0</c:v>
                </c:pt>
                <c:pt idx="8">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strCache>
            </c:strRef>
          </c:cat>
          <c:val>
            <c:numRef>
              <c:f>Sheet1!$B$2:$B$11</c:f>
              <c:numCache>
                <c:formatCode>General</c:formatCode>
                <c:ptCount val="10"/>
                <c:pt idx="0">
                  <c:v>310.0</c:v>
                </c:pt>
                <c:pt idx="1">
                  <c:v>305.0</c:v>
                </c:pt>
                <c:pt idx="2">
                  <c:v>349.0</c:v>
                </c:pt>
                <c:pt idx="3">
                  <c:v>305.0</c:v>
                </c:pt>
                <c:pt idx="4">
                  <c:v>367.5</c:v>
                </c:pt>
                <c:pt idx="5">
                  <c:v>305.0</c:v>
                </c:pt>
                <c:pt idx="6">
                  <c:v>335.0</c:v>
                </c:pt>
                <c:pt idx="7">
                  <c:v>385.0</c:v>
                </c:pt>
                <c:pt idx="8">
                  <c:v>305.0</c:v>
                </c:pt>
                <c:pt idx="9">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Carrot Tanning Adults Cosmetics Crema 10 - 14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7.5</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dLbl>
              <c:idx val="12"/>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Kids Cosmetics Locion 50 180Ml</c:v>
                </c:pt>
                <c:pt idx="12">
                  <c:v>Edgewell Banana Boat Tanning Tanning Adults Cosmetics Spray Aceite 0 - 5 237Ml</c:v>
                </c:pt>
              </c:strCache>
            </c:strRef>
          </c:cat>
          <c:val>
            <c:numRef>
              <c:f>Sheet1!$B$2:$B$14</c:f>
              <c:numCache>
                <c:formatCode>General</c:formatCode>
                <c:ptCount val="13"/>
                <c:pt idx="0">
                  <c:v>310.0</c:v>
                </c:pt>
                <c:pt idx="1">
                  <c:v>105.0</c:v>
                </c:pt>
                <c:pt idx="2">
                  <c:v>305.0</c:v>
                </c:pt>
                <c:pt idx="3">
                  <c:v>349.0</c:v>
                </c:pt>
                <c:pt idx="4">
                  <c:v>305.0</c:v>
                </c:pt>
                <c:pt idx="5">
                  <c:v>367.5</c:v>
                </c:pt>
                <c:pt idx="6">
                  <c:v>305.0</c:v>
                </c:pt>
                <c:pt idx="7">
                  <c:v>335.0</c:v>
                </c:pt>
                <c:pt idx="8">
                  <c:v>385.0</c:v>
                </c:pt>
                <c:pt idx="9">
                  <c:v>305.0</c:v>
                </c:pt>
                <c:pt idx="10">
                  <c:v>310.0</c:v>
                </c:pt>
                <c:pt idx="11">
                  <c:v>242.0</c:v>
                </c:pt>
                <c:pt idx="12">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1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125.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Other Sunscreen Adults Cosmetics Crema 50+ 240Ml</c:v>
                </c:pt>
                <c:pt idx="1">
                  <c:v>Edgewell Hawaiian Tropic Ozono Sunscreen Adults Cosmetics Liquido 50+ 240Ml</c:v>
                </c:pt>
                <c:pt idx="2">
                  <c:v>Edgewell Hawaiian Tropic Ozono Sunscreen Adults Cosmetics Liquido 50+ 90Ml</c:v>
                </c:pt>
                <c:pt idx="3">
                  <c:v>Edgewell Hawaiian Tropic Sheer Touch Sunscreen Adults Cosmetics Crema 50 120Ml</c:v>
                </c:pt>
              </c:strCache>
            </c:strRef>
          </c:cat>
          <c:val>
            <c:numRef>
              <c:f>Sheet1!$B$2:$B$5</c:f>
              <c:numCache>
                <c:formatCode>General</c:formatCode>
                <c:ptCount val="4"/>
                <c:pt idx="0">
                  <c:v>350.0</c:v>
                </c:pt>
                <c:pt idx="1">
                  <c:v>350.0</c:v>
                </c:pt>
                <c:pt idx="2">
                  <c:v>125.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Advanced Protection Sunscreen Adults Cosmetics Liquido 50+ 240Ml</c:v>
                </c:pt>
                <c:pt idx="1">
                  <c:v>Edgewell Banana Boat Aqua Protect Sunscreen Adults Cosmetics Crema 50+ 236Ml</c:v>
                </c:pt>
                <c:pt idx="2">
                  <c:v>Edgewell Banana Boat Aqua Protect Sunscreen Adults Sport Crema 50+ 236Ml</c:v>
                </c:pt>
                <c:pt idx="3">
                  <c:v>Edgewell Banana Boat Banded Pack Banded Pack 2X Sunscreen Multi 50+ 236Ml</c:v>
                </c:pt>
                <c:pt idx="4">
                  <c:v>Edgewell Banana Boat Dry Balance Sunscreen Adults Sport Crema 50+ 180Ml</c:v>
                </c:pt>
              </c:strCache>
            </c:strRef>
          </c:cat>
          <c:val>
            <c:numRef>
              <c:f>Sheet1!$B$2:$B$6</c:f>
              <c:numCache>
                <c:formatCode>General</c:formatCode>
                <c:ptCount val="5"/>
                <c:pt idx="0">
                  <c:v>310.0</c:v>
                </c:pt>
                <c:pt idx="1">
                  <c:v>305.0</c:v>
                </c:pt>
                <c:pt idx="2">
                  <c:v>305.0</c:v>
                </c:pt>
                <c:pt idx="3">
                  <c:v>305.0</c:v>
                </c:pt>
                <c:pt idx="4">
                  <c:v>33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eauty Care Sensitive Sunscreen Adults Cosmetics Liquido 50+ 50Ml</c:v>
                </c:pt>
              </c:strCache>
            </c:strRef>
          </c:cat>
          <c:val>
            <c:numRef>
              <c:f>Sheet1!$B$2:$B$2</c:f>
              <c:numCache>
                <c:formatCode>General</c:formatCode>
                <c:ptCount val="1"/>
                <c:pt idx="0">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24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Sheer Touch Sunscreen Adults Cosmetics Crema 50 120Ml</c:v>
                </c:pt>
                <c:pt idx="8">
                  <c:v>Edgewell Hawaiian Tropic Sheer Touch Sunscreen Adults Cosmetics Liquido 30 - 49 60Ml</c:v>
                </c:pt>
              </c:strCache>
            </c:strRef>
          </c:cat>
          <c:val>
            <c:numRef>
              <c:f>Sheet1!$B$2:$B$10</c:f>
              <c:numCache>
                <c:formatCode>General</c:formatCode>
                <c:ptCount val="9"/>
                <c:pt idx="0">
                  <c:v>105.0</c:v>
                </c:pt>
                <c:pt idx="1">
                  <c:v>350.0</c:v>
                </c:pt>
                <c:pt idx="2">
                  <c:v>205.0</c:v>
                </c:pt>
                <c:pt idx="3">
                  <c:v>350.0</c:v>
                </c:pt>
                <c:pt idx="4">
                  <c:v>125.0</c:v>
                </c:pt>
                <c:pt idx="5">
                  <c:v>385.0</c:v>
                </c:pt>
                <c:pt idx="6">
                  <c:v>299.0</c:v>
                </c:pt>
                <c:pt idx="7">
                  <c:v>205.0</c:v>
                </c:pt>
                <c:pt idx="8">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Kids Cosmetics Locion 50 180Ml</c:v>
                </c:pt>
              </c:strCache>
            </c:strRef>
          </c:cat>
          <c:val>
            <c:numRef>
              <c:f>Sheet1!$B$2:$B$11</c:f>
              <c:numCache>
                <c:formatCode>General</c:formatCode>
                <c:ptCount val="10"/>
                <c:pt idx="0">
                  <c:v>310.0</c:v>
                </c:pt>
                <c:pt idx="1">
                  <c:v>305.0</c:v>
                </c:pt>
                <c:pt idx="2">
                  <c:v>349.0</c:v>
                </c:pt>
                <c:pt idx="3">
                  <c:v>305.0</c:v>
                </c:pt>
                <c:pt idx="4">
                  <c:v>367.5</c:v>
                </c:pt>
                <c:pt idx="5">
                  <c:v>305.0</c:v>
                </c:pt>
                <c:pt idx="6">
                  <c:v>335.0</c:v>
                </c:pt>
                <c:pt idx="7">
                  <c:v>385.0</c:v>
                </c:pt>
                <c:pt idx="8">
                  <c:v>305.0</c:v>
                </c:pt>
                <c:pt idx="9">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Carrot Tanning Adults Cosmetics Crema 10 - 14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49.0</a:t>
                    </a:r>
                  </a:p>
                </c:rich>
              </c:tx>
              <c:showLegendKey val="0"/>
              <c:showVal val="1"/>
              <c:showCatName val="0"/>
              <c:showSerName val="0"/>
              <c:showPercent val="0"/>
              <c:showBubbleSize val="0"/>
            </c:dLbl>
            <c:dLbl>
              <c:idx val="5"/>
              <c:tx>
                <c:rich>
                  <a:bodyPr/>
                  <a:lstStyle/>
                  <a:p>
                    <a:r>
                      <a:t>33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9.0</a:t>
                    </a:r>
                  </a:p>
                </c:rich>
              </c:tx>
              <c:showLegendKey val="0"/>
              <c:showVal val="1"/>
              <c:showCatName val="0"/>
              <c:showSerName val="0"/>
              <c:showPercent val="0"/>
              <c:showBubbleSize val="0"/>
            </c:dLbl>
            <c:dLbl>
              <c:idx val="9"/>
              <c:tx>
                <c:rich>
                  <a:bodyPr/>
                  <a:lstStyle/>
                  <a:p>
                    <a:r>
                      <a:t>215.0</a:t>
                    </a:r>
                  </a:p>
                </c:rich>
              </c:tx>
              <c:showLegendKey val="0"/>
              <c:showVal val="1"/>
              <c:showCatName val="0"/>
              <c:showSerName val="0"/>
              <c:showPercent val="0"/>
              <c:showBubbleSize val="0"/>
            </c:dLbl>
            <c:dLbl>
              <c:idx val="10"/>
              <c:tx>
                <c:rich>
                  <a:bodyPr/>
                  <a:lstStyle/>
                  <a:p>
                    <a:r>
                      <a:t>659.0</a:t>
                    </a:r>
                  </a:p>
                </c:rich>
              </c:tx>
              <c:showLegendKey val="0"/>
              <c:showVal val="1"/>
              <c:showCatName val="0"/>
              <c:showSerName val="0"/>
              <c:showPercent val="0"/>
              <c:showBubbleSize val="0"/>
            </c:dLbl>
            <c:dLbl>
              <c:idx val="11"/>
              <c:tx>
                <c:rich>
                  <a:bodyPr/>
                  <a:lstStyle/>
                  <a:p>
                    <a:r>
                      <a:t>719.0</a:t>
                    </a:r>
                  </a:p>
                </c:rich>
              </c:tx>
              <c:showLegendKey val="0"/>
              <c:showVal val="1"/>
              <c:showCatName val="0"/>
              <c:showSerName val="0"/>
              <c:showPercent val="0"/>
              <c:showBubbleSize val="0"/>
            </c:dLbl>
            <c:dLbl>
              <c:idx val="12"/>
              <c:tx>
                <c:rich>
                  <a:bodyPr/>
                  <a:lstStyle/>
                  <a:p>
                    <a:r>
                      <a:t>683.48</a:t>
                    </a:r>
                  </a:p>
                </c:rich>
              </c:tx>
              <c:showLegendKey val="0"/>
              <c:showVal val="1"/>
              <c:showCatName val="0"/>
              <c:showSerName val="0"/>
              <c:showPercent val="0"/>
              <c:showBubbleSize val="0"/>
            </c:dLbl>
            <c:dLbl>
              <c:idx val="13"/>
              <c:tx>
                <c:rich>
                  <a:bodyPr/>
                  <a:lstStyle/>
                  <a:p>
                    <a:r>
                      <a:t>616.0</a:t>
                    </a:r>
                  </a:p>
                </c:rich>
              </c:tx>
              <c:showLegendKey val="0"/>
              <c:showVal val="1"/>
              <c:showCatName val="0"/>
              <c:showSerName val="0"/>
              <c:showPercent val="0"/>
              <c:showBubbleSize val="0"/>
            </c:dLbl>
            <c:dLbl>
              <c:idx val="14"/>
              <c:tx>
                <c:rich>
                  <a:bodyPr/>
                  <a:lstStyle/>
                  <a:p>
                    <a:r>
                      <a:t>590.0</a:t>
                    </a:r>
                  </a:p>
                </c:rich>
              </c:tx>
              <c:showLegendKey val="0"/>
              <c:showVal val="1"/>
              <c:showCatName val="0"/>
              <c:showSerName val="0"/>
              <c:showPercent val="0"/>
              <c:showBubbleSize val="0"/>
            </c:dLbl>
            <c:dLbl>
              <c:idx val="15"/>
              <c:tx>
                <c:rich>
                  <a:bodyPr/>
                  <a:lstStyle/>
                  <a:p>
                    <a:r>
                      <a:t>637.5</a:t>
                    </a:r>
                  </a:p>
                </c:rich>
              </c:tx>
              <c:showLegendKey val="0"/>
              <c:showVal val="1"/>
              <c:showCatName val="0"/>
              <c:showSerName val="0"/>
              <c:showPercent val="0"/>
              <c:showBubbleSize val="0"/>
            </c:dLbl>
            <c:dLbl>
              <c:idx val="16"/>
              <c:tx>
                <c:rich>
                  <a:bodyPr/>
                  <a:lstStyle/>
                  <a:p>
                    <a:r>
                      <a:t>719.0</a:t>
                    </a:r>
                  </a:p>
                </c:rich>
              </c:tx>
              <c:showLegendKey val="0"/>
              <c:showVal val="1"/>
              <c:showCatName val="0"/>
              <c:showSerName val="0"/>
              <c:showPercent val="0"/>
              <c:showBubbleSize val="0"/>
            </c:dLbl>
            <c:dLbl>
              <c:idx val="17"/>
              <c:tx>
                <c:rich>
                  <a:bodyPr/>
                  <a:lstStyle/>
                  <a:p>
                    <a:r>
                      <a:t>669.0</a:t>
                    </a:r>
                  </a:p>
                </c:rich>
              </c:tx>
              <c:showLegendKey val="0"/>
              <c:showVal val="1"/>
              <c:showCatName val="0"/>
              <c:showSerName val="0"/>
              <c:showPercent val="0"/>
              <c:showBubbleSize val="0"/>
            </c:dLbl>
            <c:dLbl>
              <c:idx val="18"/>
              <c:tx>
                <c:rich>
                  <a:bodyPr/>
                  <a:lstStyle/>
                  <a:p>
                    <a:r>
                      <a:t>709.0</a:t>
                    </a:r>
                  </a:p>
                </c:rich>
              </c:tx>
              <c:showLegendKey val="0"/>
              <c:showVal val="1"/>
              <c:showCatName val="0"/>
              <c:showSerName val="0"/>
              <c:showPercent val="0"/>
              <c:showBubbleSize val="0"/>
            </c:dLbl>
            <c:dLbl>
              <c:idx val="19"/>
              <c:tx>
                <c:rich>
                  <a:bodyPr/>
                  <a:lstStyle/>
                  <a:p>
                    <a:r>
                      <a:t>600.0</a:t>
                    </a:r>
                  </a:p>
                </c:rich>
              </c:tx>
              <c:showLegendKey val="0"/>
              <c:showVal val="1"/>
              <c:showCatName val="0"/>
              <c:showSerName val="0"/>
              <c:showPercent val="0"/>
              <c:showBubbleSize val="0"/>
            </c:dLbl>
            <c:dLbl>
              <c:idx val="20"/>
              <c:tx>
                <c:rich>
                  <a:bodyPr/>
                  <a:lstStyle/>
                  <a:p>
                    <a:r>
                      <a:t>594.89</a:t>
                    </a:r>
                  </a:p>
                </c:rich>
              </c:tx>
              <c:showLegendKey val="0"/>
              <c:showVal val="1"/>
              <c:showCatName val="0"/>
              <c:showSerName val="0"/>
              <c:showPercent val="0"/>
              <c:showBubbleSize val="0"/>
            </c:dLbl>
            <c:dLbl>
              <c:idx val="21"/>
              <c:tx>
                <c:rich>
                  <a:bodyPr/>
                  <a:lstStyle/>
                  <a:p>
                    <a:r>
                      <a:t>829.0</a:t>
                    </a:r>
                  </a:p>
                </c:rich>
              </c:tx>
              <c:showLegendKey val="0"/>
              <c:showVal val="1"/>
              <c:showCatName val="0"/>
              <c:showSerName val="0"/>
              <c:showPercent val="0"/>
              <c:showBubbleSize val="0"/>
            </c:dLbl>
            <c:dLbl>
              <c:idx val="22"/>
              <c:tx>
                <c:rich>
                  <a:bodyPr/>
                  <a:lstStyle/>
                  <a:p>
                    <a:r>
                      <a:t>752.33</a:t>
                    </a:r>
                  </a:p>
                </c:rich>
              </c:tx>
              <c:showLegendKey val="0"/>
              <c:showVal val="1"/>
              <c:showCatName val="0"/>
              <c:showSerName val="0"/>
              <c:showPercent val="0"/>
              <c:showBubbleSize val="0"/>
            </c:dLbl>
            <c:dLbl>
              <c:idx val="23"/>
              <c:tx>
                <c:rich>
                  <a:bodyPr/>
                  <a:lstStyle/>
                  <a:p>
                    <a:r>
                      <a:t>586.37</a:t>
                    </a:r>
                  </a:p>
                </c:rich>
              </c:tx>
              <c:showLegendKey val="0"/>
              <c:showVal val="1"/>
              <c:showCatName val="0"/>
              <c:showSerName val="0"/>
              <c:showPercent val="0"/>
              <c:showBubbleSize val="0"/>
            </c:dLbl>
            <c:dLbl>
              <c:idx val="24"/>
              <c:tx>
                <c:rich>
                  <a:bodyPr/>
                  <a:lstStyle/>
                  <a:p>
                    <a:r>
                      <a:t>549.0</a:t>
                    </a:r>
                  </a:p>
                </c:rich>
              </c:tx>
              <c:showLegendKey val="0"/>
              <c:showVal val="1"/>
              <c:showCatName val="0"/>
              <c:showSerName val="0"/>
              <c:showPercent val="0"/>
              <c:showBubbleSize val="0"/>
            </c:dLbl>
            <c:dLbl>
              <c:idx val="25"/>
              <c:tx>
                <c:rich>
                  <a:bodyPr/>
                  <a:lstStyle/>
                  <a:p>
                    <a:r>
                      <a:t>689.0</a:t>
                    </a:r>
                  </a:p>
                </c:rich>
              </c:tx>
              <c:showLegendKey val="0"/>
              <c:showVal val="1"/>
              <c:showCatName val="0"/>
              <c:showSerName val="0"/>
              <c:showPercent val="0"/>
              <c:showBubbleSize val="0"/>
            </c:dLbl>
            <c:dLbl>
              <c:idx val="26"/>
              <c:tx>
                <c:rich>
                  <a:bodyPr/>
                  <a:lstStyle/>
                  <a:p>
                    <a:r>
                      <a:t>672.3</a:t>
                    </a:r>
                  </a:p>
                </c:rich>
              </c:tx>
              <c:showLegendKey val="0"/>
              <c:showVal val="1"/>
              <c:showCatName val="0"/>
              <c:showSerName val="0"/>
              <c:showPercent val="0"/>
              <c:showBubbleSize val="0"/>
            </c:dLbl>
            <c:dLbl>
              <c:idx val="27"/>
              <c:tx>
                <c:rich>
                  <a:bodyPr/>
                  <a:lstStyle/>
                  <a:p>
                    <a:r>
                      <a:t>254.33</a:t>
                    </a:r>
                  </a:p>
                </c:rich>
              </c:tx>
              <c:showLegendKey val="0"/>
              <c:showVal val="1"/>
              <c:showCatName val="0"/>
              <c:showSerName val="0"/>
              <c:showPercent val="0"/>
              <c:showBubbleSize val="0"/>
            </c:dLbl>
            <c:dLbl>
              <c:idx val="28"/>
              <c:tx>
                <c:rich>
                  <a:bodyPr/>
                  <a:lstStyle/>
                  <a:p>
                    <a:r>
                      <a:t>319.0</a:t>
                    </a:r>
                  </a:p>
                </c:rich>
              </c:tx>
              <c:showLegendKey val="0"/>
              <c:showVal val="1"/>
              <c:showCatName val="0"/>
              <c:showSerName val="0"/>
              <c:showPercent val="0"/>
              <c:showBubbleSize val="0"/>
            </c:dLbl>
            <c:dLbl>
              <c:idx val="29"/>
              <c:tx>
                <c:rich>
                  <a:bodyPr/>
                  <a:lstStyle/>
                  <a:p>
                    <a:r>
                      <a:t>220.0</a:t>
                    </a:r>
                  </a:p>
                </c:rich>
              </c:tx>
              <c:showLegendKey val="0"/>
              <c:showVal val="1"/>
              <c:showCatName val="0"/>
              <c:showSerName val="0"/>
              <c:showPercent val="0"/>
              <c:showBubbleSize val="0"/>
            </c:dLbl>
            <c:dLbl>
              <c:idx val="30"/>
              <c:tx>
                <c:rich>
                  <a:bodyPr/>
                  <a:lstStyle/>
                  <a:p>
                    <a:r>
                      <a:t>286.0</a:t>
                    </a:r>
                  </a:p>
                </c:rich>
              </c:tx>
              <c:showLegendKey val="0"/>
              <c:showVal val="1"/>
              <c:showCatName val="0"/>
              <c:showSerName val="0"/>
              <c:showPercent val="0"/>
              <c:showBubbleSize val="0"/>
            </c:dLbl>
            <c:dLbl>
              <c:idx val="31"/>
              <c:tx>
                <c:rich>
                  <a:bodyPr/>
                  <a:lstStyle/>
                  <a:p>
                    <a:r>
                      <a:t>311.0</a:t>
                    </a:r>
                  </a:p>
                </c:rich>
              </c:tx>
              <c:showLegendKey val="0"/>
              <c:showVal val="1"/>
              <c:showCatName val="0"/>
              <c:showSerName val="0"/>
              <c:showPercent val="0"/>
              <c:showBubbleSize val="0"/>
            </c:dLbl>
            <c:dLbl>
              <c:idx val="32"/>
              <c:tx>
                <c:rich>
                  <a:bodyPr/>
                  <a:lstStyle/>
                  <a:p>
                    <a:r>
                      <a:t>423.9</a:t>
                    </a:r>
                  </a:p>
                </c:rich>
              </c:tx>
              <c:showLegendKey val="0"/>
              <c:showVal val="1"/>
              <c:showCatName val="0"/>
              <c:showSerName val="0"/>
              <c:showPercent val="0"/>
              <c:showBubbleSize val="0"/>
            </c:dLbl>
            <c:dLbl>
              <c:idx val="33"/>
              <c:tx>
                <c:rich>
                  <a:bodyPr/>
                  <a:lstStyle/>
                  <a:p>
                    <a:r>
                      <a:t>278.0</a:t>
                    </a:r>
                  </a:p>
                </c:rich>
              </c:tx>
              <c:showLegendKey val="0"/>
              <c:showVal val="1"/>
              <c:showCatName val="0"/>
              <c:showSerName val="0"/>
              <c:showPercent val="0"/>
              <c:showBubbleSize val="0"/>
            </c:dLbl>
            <c:dLbl>
              <c:idx val="34"/>
              <c:tx>
                <c:rich>
                  <a:bodyPr/>
                  <a:lstStyle/>
                  <a:p>
                    <a:r>
                      <a:t>393.9</a:t>
                    </a:r>
                  </a:p>
                </c:rich>
              </c:tx>
              <c:showLegendKey val="0"/>
              <c:showVal val="1"/>
              <c:showCatName val="0"/>
              <c:showSerName val="0"/>
              <c:showPercent val="0"/>
              <c:showBubbleSize val="0"/>
            </c:dLbl>
            <c:dLbl>
              <c:idx val="35"/>
              <c:tx>
                <c:rich>
                  <a:bodyPr/>
                  <a:lstStyle/>
                  <a:p>
                    <a:r>
                      <a:t>188.0</a:t>
                    </a:r>
                  </a:p>
                </c:rich>
              </c:tx>
              <c:showLegendKey val="0"/>
              <c:showVal val="1"/>
              <c:showCatName val="0"/>
              <c:showSerName val="0"/>
              <c:showPercent val="0"/>
              <c:showBubbleSize val="0"/>
            </c:dLbl>
            <c:dLbl>
              <c:idx val="36"/>
              <c:tx>
                <c:rich>
                  <a:bodyPr/>
                  <a:lstStyle/>
                  <a:p>
                    <a:r>
                      <a:t>326.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8</c:f>
              <c:strCache>
                <c:ptCount val="37"/>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Cosmetics Spray Crema 50+ 220Ml</c:v>
                </c:pt>
                <c:pt idx="5">
                  <c:v>Edgewell Banana Boat Dry Balance Sunscreen Adults Sport Crema 50+ 180Ml</c:v>
                </c:pt>
                <c:pt idx="6">
                  <c:v>Edgewell Banana Boat Dry Balance Sunscreen Adults Sport Spray Liquido 50 220Ml</c:v>
                </c:pt>
                <c:pt idx="7">
                  <c:v>Edgewell Banana Boat Mineral Sunscreen Adults Cosmetics Locion 50 60Ml</c:v>
                </c:pt>
                <c:pt idx="8">
                  <c:v>Edgewell Banana Boat Mineral Sunscreen Adults Sport Locion 50 180Ml</c:v>
                </c:pt>
                <c:pt idx="9">
                  <c:v>Edgewell Banana Boat Ultra Sunscreen Adults Sport Roll-On 60+ 75Ml</c:v>
                </c:pt>
                <c:pt idx="10">
                  <c:v>Isdin Isdin Sunscreen Adults Derma Aceite 30 200Ml</c:v>
                </c:pt>
                <c:pt idx="11">
                  <c:v>Isdin Isdin Sunscreen Adults Derma Crema 30 50Ml</c:v>
                </c:pt>
                <c:pt idx="12">
                  <c:v>Isdin Isdin Sunscreen Adults Derma Crema 50 50Ml</c:v>
                </c:pt>
                <c:pt idx="13">
                  <c:v>Isdin Isdin Sunscreen Adults Derma Crema 50+ 50Ml</c:v>
                </c:pt>
                <c:pt idx="14">
                  <c:v>Isdin Isdin Sunscreen Adults Derma Fluido 50+ 50Ml</c:v>
                </c:pt>
                <c:pt idx="15">
                  <c:v>Isdin Isdin Sunscreen Adults Derma Gel 50+ 250Ml</c:v>
                </c:pt>
                <c:pt idx="16">
                  <c:v>Isdin Isdin Sunscreen Adults Derma Liquido 30 - 49 50Ml</c:v>
                </c:pt>
                <c:pt idx="17">
                  <c:v>Isdin Isdin Sunscreen Adults Derma Locion 50+ 200Ml</c:v>
                </c:pt>
                <c:pt idx="18">
                  <c:v>Isdin Isdin Sunscreen Adults Derma Spray Aceite 50 200Ml</c:v>
                </c:pt>
                <c:pt idx="19">
                  <c:v>Isdin Isdin Sunscreen Adults Derma Spray Liquido 50 100Ml</c:v>
                </c:pt>
                <c:pt idx="20">
                  <c:v>Isdin Isdin Sunscreen Adults Derma Stick 50 10Ml</c:v>
                </c:pt>
                <c:pt idx="21">
                  <c:v>L'Oreal La Roche-Posay Sunscreen Adults Derma Crema 50+ 250Ml</c:v>
                </c:pt>
                <c:pt idx="22">
                  <c:v>L'Oreal La Roche-Posay Sunscreen Adults Derma Crema 50+ 50Ml</c:v>
                </c:pt>
                <c:pt idx="23">
                  <c:v>L'Oreal La Roche-Posay Sunscreen Adults Derma Fluido 50+ 50Ml</c:v>
                </c:pt>
                <c:pt idx="24">
                  <c:v>L'Oreal La Roche-Posay Sunscreen Adults Derma Gel 50+ 50Ml</c:v>
                </c:pt>
                <c:pt idx="25">
                  <c:v>L'Oreal La Roche-Posay Sunscreen Adults Derma Liquido 50+ 50Ml</c:v>
                </c:pt>
                <c:pt idx="26">
                  <c:v>L'Oreal La Roche-Posay Sunscreen Adults Derma Spray Aceite 50 75Ml</c:v>
                </c:pt>
                <c:pt idx="27">
                  <c:v>Beiersdorf Nivea Sunscreen Adults Cosmetics Crema 50 50Ml</c:v>
                </c:pt>
                <c:pt idx="28">
                  <c:v>Beiersdorf Nivea Sunscreen Adults Cosmetics Crema 50+ 200Ml</c:v>
                </c:pt>
                <c:pt idx="29">
                  <c:v>Beiersdorf Nivea Sunscreen Adults Cosmetics Crema 50+ 40Ml</c:v>
                </c:pt>
                <c:pt idx="30">
                  <c:v>Beiersdorf Nivea Sunscreen Adults Cosmetics Crema 50+ 50Ml</c:v>
                </c:pt>
                <c:pt idx="31">
                  <c:v>Beiersdorf Nivea Sunscreen Adults Cosmetics Fluido 50+ 40Ml</c:v>
                </c:pt>
                <c:pt idx="32">
                  <c:v>Beiersdorf Nivea Sunscreen Adults Cosmetics Gel 50+ 200Ml</c:v>
                </c:pt>
                <c:pt idx="33">
                  <c:v>Beiersdorf Nivea Sunscreen Adults Cosmetics Liquido 30 - 49 200Ml</c:v>
                </c:pt>
                <c:pt idx="34">
                  <c:v>Beiersdorf Nivea Sunscreen Adults Cosmetics Liquido 50 200Ml</c:v>
                </c:pt>
                <c:pt idx="35">
                  <c:v>Beiersdorf Nivea Sunscreen Adults Cosmetics Liquido 50+ 125Ml</c:v>
                </c:pt>
                <c:pt idx="36">
                  <c:v>Beiersdorf Nivea Sunscreen Adults Cosmetics Spray Liquido 50 200Ml</c:v>
                </c:pt>
              </c:strCache>
            </c:strRef>
          </c:cat>
          <c:val>
            <c:numRef>
              <c:f>Sheet1!$B$2:$B$38</c:f>
              <c:numCache>
                <c:formatCode>General</c:formatCode>
                <c:ptCount val="37"/>
                <c:pt idx="0">
                  <c:v>310.0</c:v>
                </c:pt>
                <c:pt idx="1">
                  <c:v>305.0</c:v>
                </c:pt>
                <c:pt idx="2">
                  <c:v>349.0</c:v>
                </c:pt>
                <c:pt idx="3">
                  <c:v>305.0</c:v>
                </c:pt>
                <c:pt idx="4">
                  <c:v>249.0</c:v>
                </c:pt>
                <c:pt idx="5">
                  <c:v>335.0</c:v>
                </c:pt>
                <c:pt idx="6">
                  <c:v>385.0</c:v>
                </c:pt>
                <c:pt idx="7">
                  <c:v>310.0</c:v>
                </c:pt>
                <c:pt idx="8">
                  <c:v>249.0</c:v>
                </c:pt>
                <c:pt idx="9">
                  <c:v>215.0</c:v>
                </c:pt>
                <c:pt idx="10">
                  <c:v>659.0</c:v>
                </c:pt>
                <c:pt idx="11">
                  <c:v>719.0</c:v>
                </c:pt>
                <c:pt idx="12">
                  <c:v>683.48</c:v>
                </c:pt>
                <c:pt idx="13">
                  <c:v>616.0</c:v>
                </c:pt>
                <c:pt idx="14">
                  <c:v>590.0</c:v>
                </c:pt>
                <c:pt idx="15">
                  <c:v>637.5</c:v>
                </c:pt>
                <c:pt idx="16">
                  <c:v>719.0</c:v>
                </c:pt>
                <c:pt idx="17">
                  <c:v>669.0</c:v>
                </c:pt>
                <c:pt idx="18">
                  <c:v>709.0</c:v>
                </c:pt>
                <c:pt idx="19">
                  <c:v>600.0</c:v>
                </c:pt>
                <c:pt idx="20">
                  <c:v>594.89</c:v>
                </c:pt>
                <c:pt idx="21">
                  <c:v>829.0</c:v>
                </c:pt>
                <c:pt idx="22">
                  <c:v>752.33</c:v>
                </c:pt>
                <c:pt idx="23">
                  <c:v>586.37</c:v>
                </c:pt>
                <c:pt idx="24">
                  <c:v>549.0</c:v>
                </c:pt>
                <c:pt idx="25">
                  <c:v>689.0</c:v>
                </c:pt>
                <c:pt idx="26">
                  <c:v>672.3</c:v>
                </c:pt>
                <c:pt idx="27">
                  <c:v>254.33</c:v>
                </c:pt>
                <c:pt idx="28">
                  <c:v>319.0</c:v>
                </c:pt>
                <c:pt idx="29">
                  <c:v>220.0</c:v>
                </c:pt>
                <c:pt idx="30">
                  <c:v>286.0</c:v>
                </c:pt>
                <c:pt idx="31">
                  <c:v>311.0</c:v>
                </c:pt>
                <c:pt idx="32">
                  <c:v>423.9</c:v>
                </c:pt>
                <c:pt idx="33">
                  <c:v>278.0</c:v>
                </c:pt>
                <c:pt idx="34">
                  <c:v>393.9</c:v>
                </c:pt>
                <c:pt idx="35">
                  <c:v>188.0</c:v>
                </c:pt>
                <c:pt idx="36">
                  <c:v>32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659.0</a:t>
                    </a:r>
                  </a:p>
                </c:rich>
              </c:tx>
              <c:showLegendKey val="0"/>
              <c:showVal val="1"/>
              <c:showCatName val="0"/>
              <c:showSerName val="0"/>
              <c:showPercent val="0"/>
              <c:showBubbleSize val="0"/>
            </c:dLbl>
            <c:dLbl>
              <c:idx val="5"/>
              <c:tx>
                <c:rich>
                  <a:bodyPr/>
                  <a:lstStyle/>
                  <a:p>
                    <a:r>
                      <a:t>719.0</a:t>
                    </a:r>
                  </a:p>
                </c:rich>
              </c:tx>
              <c:showLegendKey val="0"/>
              <c:showVal val="1"/>
              <c:showCatName val="0"/>
              <c:showSerName val="0"/>
              <c:showPercent val="0"/>
              <c:showBubbleSize val="0"/>
            </c:dLbl>
            <c:dLbl>
              <c:idx val="6"/>
              <c:tx>
                <c:rich>
                  <a:bodyPr/>
                  <a:lstStyle/>
                  <a:p>
                    <a:r>
                      <a:t>683.48</a:t>
                    </a:r>
                  </a:p>
                </c:rich>
              </c:tx>
              <c:showLegendKey val="0"/>
              <c:showVal val="1"/>
              <c:showCatName val="0"/>
              <c:showSerName val="0"/>
              <c:showPercent val="0"/>
              <c:showBubbleSize val="0"/>
            </c:dLbl>
            <c:dLbl>
              <c:idx val="7"/>
              <c:tx>
                <c:rich>
                  <a:bodyPr/>
                  <a:lstStyle/>
                  <a:p>
                    <a:r>
                      <a:t>616.0</a:t>
                    </a:r>
                  </a:p>
                </c:rich>
              </c:tx>
              <c:showLegendKey val="0"/>
              <c:showVal val="1"/>
              <c:showCatName val="0"/>
              <c:showSerName val="0"/>
              <c:showPercent val="0"/>
              <c:showBubbleSize val="0"/>
            </c:dLbl>
            <c:dLbl>
              <c:idx val="8"/>
              <c:tx>
                <c:rich>
                  <a:bodyPr/>
                  <a:lstStyle/>
                  <a:p>
                    <a:r>
                      <a:t>590.0</a:t>
                    </a:r>
                  </a:p>
                </c:rich>
              </c:tx>
              <c:showLegendKey val="0"/>
              <c:showVal val="1"/>
              <c:showCatName val="0"/>
              <c:showSerName val="0"/>
              <c:showPercent val="0"/>
              <c:showBubbleSize val="0"/>
            </c:dLbl>
            <c:dLbl>
              <c:idx val="9"/>
              <c:tx>
                <c:rich>
                  <a:bodyPr/>
                  <a:lstStyle/>
                  <a:p>
                    <a:r>
                      <a:t>637.5</a:t>
                    </a:r>
                  </a:p>
                </c:rich>
              </c:tx>
              <c:showLegendKey val="0"/>
              <c:showVal val="1"/>
              <c:showCatName val="0"/>
              <c:showSerName val="0"/>
              <c:showPercent val="0"/>
              <c:showBubbleSize val="0"/>
            </c:dLbl>
            <c:dLbl>
              <c:idx val="10"/>
              <c:tx>
                <c:rich>
                  <a:bodyPr/>
                  <a:lstStyle/>
                  <a:p>
                    <a:r>
                      <a:t>719.0</a:t>
                    </a:r>
                  </a:p>
                </c:rich>
              </c:tx>
              <c:showLegendKey val="0"/>
              <c:showVal val="1"/>
              <c:showCatName val="0"/>
              <c:showSerName val="0"/>
              <c:showPercent val="0"/>
              <c:showBubbleSize val="0"/>
            </c:dLbl>
            <c:dLbl>
              <c:idx val="11"/>
              <c:tx>
                <c:rich>
                  <a:bodyPr/>
                  <a:lstStyle/>
                  <a:p>
                    <a:r>
                      <a:t>669.0</a:t>
                    </a:r>
                  </a:p>
                </c:rich>
              </c:tx>
              <c:showLegendKey val="0"/>
              <c:showVal val="1"/>
              <c:showCatName val="0"/>
              <c:showSerName val="0"/>
              <c:showPercent val="0"/>
              <c:showBubbleSize val="0"/>
            </c:dLbl>
            <c:dLbl>
              <c:idx val="12"/>
              <c:tx>
                <c:rich>
                  <a:bodyPr/>
                  <a:lstStyle/>
                  <a:p>
                    <a:r>
                      <a:t>709.0</a:t>
                    </a:r>
                  </a:p>
                </c:rich>
              </c:tx>
              <c:showLegendKey val="0"/>
              <c:showVal val="1"/>
              <c:showCatName val="0"/>
              <c:showSerName val="0"/>
              <c:showPercent val="0"/>
              <c:showBubbleSize val="0"/>
            </c:dLbl>
            <c:dLbl>
              <c:idx val="13"/>
              <c:tx>
                <c:rich>
                  <a:bodyPr/>
                  <a:lstStyle/>
                  <a:p>
                    <a:r>
                      <a:t>600.0</a:t>
                    </a:r>
                  </a:p>
                </c:rich>
              </c:tx>
              <c:showLegendKey val="0"/>
              <c:showVal val="1"/>
              <c:showCatName val="0"/>
              <c:showSerName val="0"/>
              <c:showPercent val="0"/>
              <c:showBubbleSize val="0"/>
            </c:dLbl>
            <c:dLbl>
              <c:idx val="14"/>
              <c:tx>
                <c:rich>
                  <a:bodyPr/>
                  <a:lstStyle/>
                  <a:p>
                    <a:r>
                      <a:t>594.89</a:t>
                    </a:r>
                  </a:p>
                </c:rich>
              </c:tx>
              <c:showLegendKey val="0"/>
              <c:showVal val="1"/>
              <c:showCatName val="0"/>
              <c:showSerName val="0"/>
              <c:showPercent val="0"/>
              <c:showBubbleSize val="0"/>
            </c:dLbl>
            <c:dLbl>
              <c:idx val="15"/>
              <c:tx>
                <c:rich>
                  <a:bodyPr/>
                  <a:lstStyle/>
                  <a:p>
                    <a:r>
                      <a:t>829.0</a:t>
                    </a:r>
                  </a:p>
                </c:rich>
              </c:tx>
              <c:showLegendKey val="0"/>
              <c:showVal val="1"/>
              <c:showCatName val="0"/>
              <c:showSerName val="0"/>
              <c:showPercent val="0"/>
              <c:showBubbleSize val="0"/>
            </c:dLbl>
            <c:dLbl>
              <c:idx val="16"/>
              <c:tx>
                <c:rich>
                  <a:bodyPr/>
                  <a:lstStyle/>
                  <a:p>
                    <a:r>
                      <a:t>752.33</a:t>
                    </a:r>
                  </a:p>
                </c:rich>
              </c:tx>
              <c:showLegendKey val="0"/>
              <c:showVal val="1"/>
              <c:showCatName val="0"/>
              <c:showSerName val="0"/>
              <c:showPercent val="0"/>
              <c:showBubbleSize val="0"/>
            </c:dLbl>
            <c:dLbl>
              <c:idx val="17"/>
              <c:tx>
                <c:rich>
                  <a:bodyPr/>
                  <a:lstStyle/>
                  <a:p>
                    <a:r>
                      <a:t>586.37</a:t>
                    </a:r>
                  </a:p>
                </c:rich>
              </c:tx>
              <c:showLegendKey val="0"/>
              <c:showVal val="1"/>
              <c:showCatName val="0"/>
              <c:showSerName val="0"/>
              <c:showPercent val="0"/>
              <c:showBubbleSize val="0"/>
            </c:dLbl>
            <c:dLbl>
              <c:idx val="18"/>
              <c:tx>
                <c:rich>
                  <a:bodyPr/>
                  <a:lstStyle/>
                  <a:p>
                    <a:r>
                      <a:t>549.0</a:t>
                    </a:r>
                  </a:p>
                </c:rich>
              </c:tx>
              <c:showLegendKey val="0"/>
              <c:showVal val="1"/>
              <c:showCatName val="0"/>
              <c:showSerName val="0"/>
              <c:showPercent val="0"/>
              <c:showBubbleSize val="0"/>
            </c:dLbl>
            <c:dLbl>
              <c:idx val="19"/>
              <c:tx>
                <c:rich>
                  <a:bodyPr/>
                  <a:lstStyle/>
                  <a:p>
                    <a:r>
                      <a:t>689.0</a:t>
                    </a:r>
                  </a:p>
                </c:rich>
              </c:tx>
              <c:showLegendKey val="0"/>
              <c:showVal val="1"/>
              <c:showCatName val="0"/>
              <c:showSerName val="0"/>
              <c:showPercent val="0"/>
              <c:showBubbleSize val="0"/>
            </c:dLbl>
            <c:dLbl>
              <c:idx val="20"/>
              <c:tx>
                <c:rich>
                  <a:bodyPr/>
                  <a:lstStyle/>
                  <a:p>
                    <a:r>
                      <a:t>672.3</a:t>
                    </a:r>
                  </a:p>
                </c:rich>
              </c:tx>
              <c:showLegendKey val="0"/>
              <c:showVal val="1"/>
              <c:showCatName val="0"/>
              <c:showSerName val="0"/>
              <c:showPercent val="0"/>
              <c:showBubbleSize val="0"/>
            </c:dLbl>
            <c:dLbl>
              <c:idx val="21"/>
              <c:tx>
                <c:rich>
                  <a:bodyPr/>
                  <a:lstStyle/>
                  <a:p>
                    <a:r>
                      <a:t>254.33</a:t>
                    </a:r>
                  </a:p>
                </c:rich>
              </c:tx>
              <c:showLegendKey val="0"/>
              <c:showVal val="1"/>
              <c:showCatName val="0"/>
              <c:showSerName val="0"/>
              <c:showPercent val="0"/>
              <c:showBubbleSize val="0"/>
            </c:dLbl>
            <c:dLbl>
              <c:idx val="22"/>
              <c:tx>
                <c:rich>
                  <a:bodyPr/>
                  <a:lstStyle/>
                  <a:p>
                    <a:r>
                      <a:t>319.0</a:t>
                    </a:r>
                  </a:p>
                </c:rich>
              </c:tx>
              <c:showLegendKey val="0"/>
              <c:showVal val="1"/>
              <c:showCatName val="0"/>
              <c:showSerName val="0"/>
              <c:showPercent val="0"/>
              <c:showBubbleSize val="0"/>
            </c:dLbl>
            <c:dLbl>
              <c:idx val="23"/>
              <c:tx>
                <c:rich>
                  <a:bodyPr/>
                  <a:lstStyle/>
                  <a:p>
                    <a:r>
                      <a:t>220.0</a:t>
                    </a:r>
                  </a:p>
                </c:rich>
              </c:tx>
              <c:showLegendKey val="0"/>
              <c:showVal val="1"/>
              <c:showCatName val="0"/>
              <c:showSerName val="0"/>
              <c:showPercent val="0"/>
              <c:showBubbleSize val="0"/>
            </c:dLbl>
            <c:dLbl>
              <c:idx val="24"/>
              <c:tx>
                <c:rich>
                  <a:bodyPr/>
                  <a:lstStyle/>
                  <a:p>
                    <a:r>
                      <a:t>286.0</a:t>
                    </a:r>
                  </a:p>
                </c:rich>
              </c:tx>
              <c:showLegendKey val="0"/>
              <c:showVal val="1"/>
              <c:showCatName val="0"/>
              <c:showSerName val="0"/>
              <c:showPercent val="0"/>
              <c:showBubbleSize val="0"/>
            </c:dLbl>
            <c:dLbl>
              <c:idx val="25"/>
              <c:tx>
                <c:rich>
                  <a:bodyPr/>
                  <a:lstStyle/>
                  <a:p>
                    <a:r>
                      <a:t>311.0</a:t>
                    </a:r>
                  </a:p>
                </c:rich>
              </c:tx>
              <c:showLegendKey val="0"/>
              <c:showVal val="1"/>
              <c:showCatName val="0"/>
              <c:showSerName val="0"/>
              <c:showPercent val="0"/>
              <c:showBubbleSize val="0"/>
            </c:dLbl>
            <c:dLbl>
              <c:idx val="26"/>
              <c:tx>
                <c:rich>
                  <a:bodyPr/>
                  <a:lstStyle/>
                  <a:p>
                    <a:r>
                      <a:t>423.9</a:t>
                    </a:r>
                  </a:p>
                </c:rich>
              </c:tx>
              <c:showLegendKey val="0"/>
              <c:showVal val="1"/>
              <c:showCatName val="0"/>
              <c:showSerName val="0"/>
              <c:showPercent val="0"/>
              <c:showBubbleSize val="0"/>
            </c:dLbl>
            <c:dLbl>
              <c:idx val="27"/>
              <c:tx>
                <c:rich>
                  <a:bodyPr/>
                  <a:lstStyle/>
                  <a:p>
                    <a:r>
                      <a:t>278.0</a:t>
                    </a:r>
                  </a:p>
                </c:rich>
              </c:tx>
              <c:showLegendKey val="0"/>
              <c:showVal val="1"/>
              <c:showCatName val="0"/>
              <c:showSerName val="0"/>
              <c:showPercent val="0"/>
              <c:showBubbleSize val="0"/>
            </c:dLbl>
            <c:dLbl>
              <c:idx val="28"/>
              <c:tx>
                <c:rich>
                  <a:bodyPr/>
                  <a:lstStyle/>
                  <a:p>
                    <a:r>
                      <a:t>393.9</a:t>
                    </a:r>
                  </a:p>
                </c:rich>
              </c:tx>
              <c:showLegendKey val="0"/>
              <c:showVal val="1"/>
              <c:showCatName val="0"/>
              <c:showSerName val="0"/>
              <c:showPercent val="0"/>
              <c:showBubbleSize val="0"/>
            </c:dLbl>
            <c:dLbl>
              <c:idx val="29"/>
              <c:tx>
                <c:rich>
                  <a:bodyPr/>
                  <a:lstStyle/>
                  <a:p>
                    <a:r>
                      <a:t>188.0</a:t>
                    </a:r>
                  </a:p>
                </c:rich>
              </c:tx>
              <c:showLegendKey val="0"/>
              <c:showVal val="1"/>
              <c:showCatName val="0"/>
              <c:showSerName val="0"/>
              <c:showPercent val="0"/>
              <c:showBubbleSize val="0"/>
            </c:dLbl>
            <c:dLbl>
              <c:idx val="30"/>
              <c:tx>
                <c:rich>
                  <a:bodyPr/>
                  <a:lstStyle/>
                  <a:p>
                    <a:r>
                      <a:t>326.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2</c:f>
              <c:strCache>
                <c:ptCount val="31"/>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pt idx="4">
                  <c:v>Isdin Isdin Sunscreen Adults Derma Aceite 30 200Ml</c:v>
                </c:pt>
                <c:pt idx="5">
                  <c:v>Isdin Isdin Sunscreen Adults Derma Crema 30 50Ml</c:v>
                </c:pt>
                <c:pt idx="6">
                  <c:v>Isdin Isdin Sunscreen Adults Derma Crema 50 50Ml</c:v>
                </c:pt>
                <c:pt idx="7">
                  <c:v>Isdin Isdin Sunscreen Adults Derma Crema 50+ 50Ml</c:v>
                </c:pt>
                <c:pt idx="8">
                  <c:v>Isdin Isdin Sunscreen Adults Derma Fluido 50+ 50Ml</c:v>
                </c:pt>
                <c:pt idx="9">
                  <c:v>Isdin Isdin Sunscreen Adults Derma Gel 50+ 250Ml</c:v>
                </c:pt>
                <c:pt idx="10">
                  <c:v>Isdin Isdin Sunscreen Adults Derma Liquido 30 - 49 50Ml</c:v>
                </c:pt>
                <c:pt idx="11">
                  <c:v>Isdin Isdin Sunscreen Adults Derma Locion 50+ 200Ml</c:v>
                </c:pt>
                <c:pt idx="12">
                  <c:v>Isdin Isdin Sunscreen Adults Derma Spray Aceite 50 200Ml</c:v>
                </c:pt>
                <c:pt idx="13">
                  <c:v>Isdin Isdin Sunscreen Adults Derma Spray Liquido 50 100Ml</c:v>
                </c:pt>
                <c:pt idx="14">
                  <c:v>Isdin Isdin Sunscreen Adults Derma Stick 50 10Ml</c:v>
                </c:pt>
                <c:pt idx="15">
                  <c:v>L'Oreal La Roche-Posay Sunscreen Adults Derma Crema 50+ 250Ml</c:v>
                </c:pt>
                <c:pt idx="16">
                  <c:v>L'Oreal La Roche-Posay Sunscreen Adults Derma Crema 50+ 50Ml</c:v>
                </c:pt>
                <c:pt idx="17">
                  <c:v>L'Oreal La Roche-Posay Sunscreen Adults Derma Fluido 50+ 50Ml</c:v>
                </c:pt>
                <c:pt idx="18">
                  <c:v>L'Oreal La Roche-Posay Sunscreen Adults Derma Gel 50+ 50Ml</c:v>
                </c:pt>
                <c:pt idx="19">
                  <c:v>L'Oreal La Roche-Posay Sunscreen Adults Derma Liquido 50+ 50Ml</c:v>
                </c:pt>
                <c:pt idx="20">
                  <c:v>L'Oreal La Roche-Posay Sunscreen Adults Derma Spray Aceite 50 75Ml</c:v>
                </c:pt>
                <c:pt idx="21">
                  <c:v>Beiersdorf Nivea Sunscreen Adults Cosmetics Crema 50 50Ml</c:v>
                </c:pt>
                <c:pt idx="22">
                  <c:v>Beiersdorf Nivea Sunscreen Adults Cosmetics Crema 50+ 200Ml</c:v>
                </c:pt>
                <c:pt idx="23">
                  <c:v>Beiersdorf Nivea Sunscreen Adults Cosmetics Crema 50+ 40Ml</c:v>
                </c:pt>
                <c:pt idx="24">
                  <c:v>Beiersdorf Nivea Sunscreen Adults Cosmetics Crema 50+ 50Ml</c:v>
                </c:pt>
                <c:pt idx="25">
                  <c:v>Beiersdorf Nivea Sunscreen Adults Cosmetics Fluido 50+ 40Ml</c:v>
                </c:pt>
                <c:pt idx="26">
                  <c:v>Beiersdorf Nivea Sunscreen Adults Cosmetics Gel 50+ 200Ml</c:v>
                </c:pt>
                <c:pt idx="27">
                  <c:v>Beiersdorf Nivea Sunscreen Adults Cosmetics Liquido 30 - 49 200Ml</c:v>
                </c:pt>
                <c:pt idx="28">
                  <c:v>Beiersdorf Nivea Sunscreen Adults Cosmetics Liquido 50 200Ml</c:v>
                </c:pt>
                <c:pt idx="29">
                  <c:v>Beiersdorf Nivea Sunscreen Adults Cosmetics Liquido 50+ 125Ml</c:v>
                </c:pt>
                <c:pt idx="30">
                  <c:v>Beiersdorf Nivea Sunscreen Adults Cosmetics Spray Liquido 50 200Ml</c:v>
                </c:pt>
              </c:strCache>
            </c:strRef>
          </c:cat>
          <c:val>
            <c:numRef>
              <c:f>Sheet1!$B$2:$B$32</c:f>
              <c:numCache>
                <c:formatCode>General</c:formatCode>
                <c:ptCount val="31"/>
                <c:pt idx="0">
                  <c:v>240.0</c:v>
                </c:pt>
                <c:pt idx="1">
                  <c:v>179.0</c:v>
                </c:pt>
                <c:pt idx="2">
                  <c:v>179.0</c:v>
                </c:pt>
                <c:pt idx="3">
                  <c:v>179.0</c:v>
                </c:pt>
                <c:pt idx="4">
                  <c:v>659.0</c:v>
                </c:pt>
                <c:pt idx="5">
                  <c:v>719.0</c:v>
                </c:pt>
                <c:pt idx="6">
                  <c:v>683.48</c:v>
                </c:pt>
                <c:pt idx="7">
                  <c:v>616.0</c:v>
                </c:pt>
                <c:pt idx="8">
                  <c:v>590.0</c:v>
                </c:pt>
                <c:pt idx="9">
                  <c:v>637.5</c:v>
                </c:pt>
                <c:pt idx="10">
                  <c:v>719.0</c:v>
                </c:pt>
                <c:pt idx="11">
                  <c:v>669.0</c:v>
                </c:pt>
                <c:pt idx="12">
                  <c:v>709.0</c:v>
                </c:pt>
                <c:pt idx="13">
                  <c:v>600.0</c:v>
                </c:pt>
                <c:pt idx="14">
                  <c:v>594.89</c:v>
                </c:pt>
                <c:pt idx="15">
                  <c:v>829.0</c:v>
                </c:pt>
                <c:pt idx="16">
                  <c:v>752.33</c:v>
                </c:pt>
                <c:pt idx="17">
                  <c:v>586.37</c:v>
                </c:pt>
                <c:pt idx="18">
                  <c:v>549.0</c:v>
                </c:pt>
                <c:pt idx="19">
                  <c:v>689.0</c:v>
                </c:pt>
                <c:pt idx="20">
                  <c:v>672.3</c:v>
                </c:pt>
                <c:pt idx="21">
                  <c:v>254.33</c:v>
                </c:pt>
                <c:pt idx="22">
                  <c:v>319.0</c:v>
                </c:pt>
                <c:pt idx="23">
                  <c:v>220.0</c:v>
                </c:pt>
                <c:pt idx="24">
                  <c:v>286.0</c:v>
                </c:pt>
                <c:pt idx="25">
                  <c:v>311.0</c:v>
                </c:pt>
                <c:pt idx="26">
                  <c:v>423.9</c:v>
                </c:pt>
                <c:pt idx="27">
                  <c:v>278.0</c:v>
                </c:pt>
                <c:pt idx="28">
                  <c:v>393.9</c:v>
                </c:pt>
                <c:pt idx="29">
                  <c:v>188.0</c:v>
                </c:pt>
                <c:pt idx="30">
                  <c:v>32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dLbl>
              <c:idx val="4"/>
              <c:tx>
                <c:rich>
                  <a:bodyPr/>
                  <a:lstStyle/>
                  <a:p>
                    <a:r>
                      <a:t>149.0</a:t>
                    </a:r>
                  </a:p>
                </c:rich>
              </c:tx>
              <c:showLegendKey val="0"/>
              <c:showVal val="1"/>
              <c:showCatName val="0"/>
              <c:showSerName val="0"/>
              <c:showPercent val="0"/>
              <c:showBubbleSize val="0"/>
            </c:dLbl>
            <c:dLbl>
              <c:idx val="5"/>
              <c:tx>
                <c:rich>
                  <a:bodyPr/>
                  <a:lstStyle/>
                  <a:p>
                    <a:r>
                      <a:t>349.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365.0</a:t>
                    </a:r>
                  </a:p>
                </c:rich>
              </c:tx>
              <c:showLegendKey val="0"/>
              <c:showVal val="1"/>
              <c:showCatName val="0"/>
              <c:showSerName val="0"/>
              <c:showPercent val="0"/>
              <c:showBubbleSize val="0"/>
            </c:dLbl>
            <c:dLbl>
              <c:idx val="8"/>
              <c:tx>
                <c:rich>
                  <a:bodyPr/>
                  <a:lstStyle/>
                  <a:p>
                    <a:r>
                      <a:t>195.0</a:t>
                    </a:r>
                  </a:p>
                </c:rich>
              </c:tx>
              <c:showLegendKey val="0"/>
              <c:showVal val="1"/>
              <c:showCatName val="0"/>
              <c:showSerName val="0"/>
              <c:showPercent val="0"/>
              <c:showBubbleSize val="0"/>
            </c:dLbl>
            <c:dLbl>
              <c:idx val="9"/>
              <c:tx>
                <c:rich>
                  <a:bodyPr/>
                  <a:lstStyle/>
                  <a:p>
                    <a:r>
                      <a:t>16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pt idx="4">
                  <c:v>Total Care De Mexico Caribbean Beach Sunscreen Kids Cosmetics Crema 50+ 250Ml</c:v>
                </c:pt>
                <c:pt idx="5">
                  <c:v>Beiersdorf Nivea Sunscreen Kids Cosmetics Gel 50+ 150Ml</c:v>
                </c:pt>
                <c:pt idx="6">
                  <c:v>Beiersdorf Nivea Sunscreen Kids Cosmetics Liquido 50+ 200Ml</c:v>
                </c:pt>
                <c:pt idx="7">
                  <c:v>Beiersdorf Nivea Sunscreen Kids Cosmetics Spray Liquido 50+ 200Ml</c:v>
                </c:pt>
                <c:pt idx="8">
                  <c:v>Others Fabricante Unif. Others Marca Unif. Sunscreen Kids Cosmetics Crema 50 165Ml</c:v>
                </c:pt>
                <c:pt idx="9">
                  <c:v>Others Fabricante Unif. Others Marca Unif. Sunscreen Kids Derma Crema 50+ 125Ml</c:v>
                </c:pt>
              </c:strCache>
            </c:strRef>
          </c:cat>
          <c:val>
            <c:numRef>
              <c:f>Sheet1!$B$2:$B$11</c:f>
              <c:numCache>
                <c:formatCode>General</c:formatCode>
                <c:ptCount val="10"/>
                <c:pt idx="0">
                  <c:v>367.5</c:v>
                </c:pt>
                <c:pt idx="1">
                  <c:v>305.0</c:v>
                </c:pt>
                <c:pt idx="2">
                  <c:v>305.0</c:v>
                </c:pt>
                <c:pt idx="3">
                  <c:v>242.0</c:v>
                </c:pt>
                <c:pt idx="4">
                  <c:v>149.0</c:v>
                </c:pt>
                <c:pt idx="5">
                  <c:v>349.0</c:v>
                </c:pt>
                <c:pt idx="6">
                  <c:v>310.0</c:v>
                </c:pt>
                <c:pt idx="7">
                  <c:v>365.0</c:v>
                </c:pt>
                <c:pt idx="8">
                  <c:v>195.0</c:v>
                </c:pt>
                <c:pt idx="9">
                  <c:v>16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49.0</a:t>
                    </a:r>
                  </a:p>
                </c:rich>
              </c:tx>
              <c:showLegendKey val="0"/>
              <c:showVal val="1"/>
              <c:showCatName val="0"/>
              <c:showSerName val="0"/>
              <c:showPercent val="0"/>
              <c:showBubbleSize val="0"/>
            </c:dLbl>
            <c:dLbl>
              <c:idx val="5"/>
              <c:tx>
                <c:rich>
                  <a:bodyPr/>
                  <a:lstStyle/>
                  <a:p>
                    <a:r>
                      <a:t>33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9.0</a:t>
                    </a:r>
                  </a:p>
                </c:rich>
              </c:tx>
              <c:showLegendKey val="0"/>
              <c:showVal val="1"/>
              <c:showCatName val="0"/>
              <c:showSerName val="0"/>
              <c:showPercent val="0"/>
              <c:showBubbleSize val="0"/>
            </c:dLbl>
            <c:dLbl>
              <c:idx val="9"/>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Cosmetics Spray Crema 50+ 220Ml</c:v>
                </c:pt>
                <c:pt idx="5">
                  <c:v>Edgewell Banana Boat Dry Balance Sunscreen Adults Sport Crema 50+ 180Ml</c:v>
                </c:pt>
                <c:pt idx="6">
                  <c:v>Edgewell Banana Boat Dry Balance Sunscreen Adults Sport Spray Liquido 50 220Ml</c:v>
                </c:pt>
                <c:pt idx="7">
                  <c:v>Edgewell Banana Boat Mineral Sunscreen Adults Cosmetics Locion 50 60Ml</c:v>
                </c:pt>
                <c:pt idx="8">
                  <c:v>Edgewell Banana Boat Mineral Sunscreen Adults Sport Locion 50 180Ml</c:v>
                </c:pt>
                <c:pt idx="9">
                  <c:v>Edgewell Banana Boat Ultra Sunscreen Adults Sport Roll-On 60+ 75Ml</c:v>
                </c:pt>
              </c:strCache>
            </c:strRef>
          </c:cat>
          <c:val>
            <c:numRef>
              <c:f>Sheet1!$B$2:$B$11</c:f>
              <c:numCache>
                <c:formatCode>General</c:formatCode>
                <c:ptCount val="10"/>
                <c:pt idx="0">
                  <c:v>310.0</c:v>
                </c:pt>
                <c:pt idx="1">
                  <c:v>305.0</c:v>
                </c:pt>
                <c:pt idx="2">
                  <c:v>349.0</c:v>
                </c:pt>
                <c:pt idx="3">
                  <c:v>305.0</c:v>
                </c:pt>
                <c:pt idx="4">
                  <c:v>249.0</c:v>
                </c:pt>
                <c:pt idx="5">
                  <c:v>335.0</c:v>
                </c:pt>
                <c:pt idx="6">
                  <c:v>385.0</c:v>
                </c:pt>
                <c:pt idx="7">
                  <c:v>310.0</c:v>
                </c:pt>
                <c:pt idx="8">
                  <c:v>249.0</c:v>
                </c:pt>
                <c:pt idx="9">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1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205.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12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299.0</a:t>
                    </a:r>
                  </a:p>
                </c:rich>
              </c:tx>
              <c:showLegendKey val="0"/>
              <c:showVal val="1"/>
              <c:showCatName val="0"/>
              <c:showSerName val="0"/>
              <c:showPercent val="0"/>
              <c:showBubbleSize val="0"/>
            </c:dLbl>
            <c:dLbl>
              <c:idx val="10"/>
              <c:tx>
                <c:rich>
                  <a:bodyPr/>
                  <a:lstStyle/>
                  <a:p>
                    <a:r>
                      <a:t>205.0</a:t>
                    </a:r>
                  </a:p>
                </c:rich>
              </c:tx>
              <c:showLegendKey val="0"/>
              <c:showVal val="1"/>
              <c:showCatName val="0"/>
              <c:showSerName val="0"/>
              <c:showPercent val="0"/>
              <c:showBubbleSize val="0"/>
            </c:dLbl>
            <c:dLbl>
              <c:idx val="11"/>
              <c:tx>
                <c:rich>
                  <a:bodyPr/>
                  <a:lstStyle/>
                  <a:p>
                    <a:r>
                      <a:t>105.0</a:t>
                    </a:r>
                  </a:p>
                </c:rich>
              </c:tx>
              <c:showLegendKey val="0"/>
              <c:showVal val="1"/>
              <c:showCatName val="0"/>
              <c:showSerName val="0"/>
              <c:showPercent val="0"/>
              <c:showBubbleSize val="0"/>
            </c:dLbl>
            <c:dLbl>
              <c:idx val="1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Hawaiian Tropic After Sun After Sun Adults Cosmetics Gel 0 - 5 240Ml</c:v>
                </c:pt>
                <c:pt idx="1">
                  <c:v>Edgewell Hawaiian Tropic Carrot Tanning Adults Cosmetics Crema 10 - 14 240Ml</c:v>
                </c:pt>
                <c:pt idx="2">
                  <c:v>Edgewell Hawaiian Tropic Island Sport Sunscreen Adults Sport Liquido 50 60Ml</c:v>
                </c:pt>
                <c:pt idx="3">
                  <c:v>Edgewell Hawaiian Tropic Other Sunscreen Adults Cosmetics Crema 50+ 240Ml</c:v>
                </c:pt>
                <c:pt idx="4">
                  <c:v>Edgewell Hawaiian Tropic Ozono Sunscreen Adults Cosmetics Liquido 50+ 120Ml</c:v>
                </c:pt>
                <c:pt idx="5">
                  <c:v>Edgewell Hawaiian Tropic Ozono Sunscreen Adults Cosmetics Liquido 50+ 180Ml</c:v>
                </c:pt>
                <c:pt idx="6">
                  <c:v>Edgewell Hawaiian Tropic Ozono Sunscreen Adults Cosmetics Liquido 50+ 240Ml</c:v>
                </c:pt>
                <c:pt idx="7">
                  <c:v>Edgewell Hawaiian Tropic Ozono Sunscreen Adults Cosmetics Liquido 50+ 90Ml</c:v>
                </c:pt>
                <c:pt idx="8">
                  <c:v>Edgewell Hawaiian Tropic Ozono Sunscreen Adults Cosmetics Spray Liquido 50+ 180Ml</c:v>
                </c:pt>
                <c:pt idx="9">
                  <c:v>Edgewell Hawaiian Tropic Sheer Touch Sunscreen Adults Cosmetics Crema 30 - 49 240Ml</c:v>
                </c:pt>
                <c:pt idx="10">
                  <c:v>Edgewell Hawaiian Tropic Sheer Touch Sunscreen Adults Cosmetics Crema 50 120Ml</c:v>
                </c:pt>
                <c:pt idx="11">
                  <c:v>Edgewell Hawaiian Tropic Sheer Touch Sunscreen Adults Cosmetics Liquido 30 - 49 60Ml</c:v>
                </c:pt>
                <c:pt idx="12">
                  <c:v>Edgewell Hawaiian Tropic Tanning Sunscreen Adults Cosmetics Spray Liquido 15 - 19 220Ml</c:v>
                </c:pt>
              </c:strCache>
            </c:strRef>
          </c:cat>
          <c:val>
            <c:numRef>
              <c:f>Sheet1!$B$2:$B$14</c:f>
              <c:numCache>
                <c:formatCode>General</c:formatCode>
                <c:ptCount val="13"/>
                <c:pt idx="0">
                  <c:v>299.0</c:v>
                </c:pt>
                <c:pt idx="1">
                  <c:v>299.0</c:v>
                </c:pt>
                <c:pt idx="2">
                  <c:v>105.0</c:v>
                </c:pt>
                <c:pt idx="3">
                  <c:v>350.0</c:v>
                </c:pt>
                <c:pt idx="4">
                  <c:v>205.0</c:v>
                </c:pt>
                <c:pt idx="5">
                  <c:v>350.0</c:v>
                </c:pt>
                <c:pt idx="6">
                  <c:v>350.0</c:v>
                </c:pt>
                <c:pt idx="7">
                  <c:v>125.0</c:v>
                </c:pt>
                <c:pt idx="8">
                  <c:v>385.0</c:v>
                </c:pt>
                <c:pt idx="9">
                  <c:v>299.0</c:v>
                </c:pt>
                <c:pt idx="10">
                  <c:v>205.0</c:v>
                </c:pt>
                <c:pt idx="11">
                  <c:v>105.0</c:v>
                </c:pt>
                <c:pt idx="1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49.0</a:t>
                    </a:r>
                  </a:p>
                </c:rich>
              </c:tx>
              <c:showLegendKey val="0"/>
              <c:showVal val="1"/>
              <c:showCatName val="0"/>
              <c:showSerName val="0"/>
              <c:showPercent val="0"/>
              <c:showBubbleSize val="0"/>
            </c:dLbl>
            <c:dLbl>
              <c:idx val="5"/>
              <c:tx>
                <c:rich>
                  <a:bodyPr/>
                  <a:lstStyle/>
                  <a:p>
                    <a:r>
                      <a:t>33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9.0</a:t>
                    </a:r>
                  </a:p>
                </c:rich>
              </c:tx>
              <c:showLegendKey val="0"/>
              <c:showVal val="1"/>
              <c:showCatName val="0"/>
              <c:showSerName val="0"/>
              <c:showPercent val="0"/>
              <c:showBubbleSize val="0"/>
            </c:dLbl>
            <c:dLbl>
              <c:idx val="9"/>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Cosmetics Spray Crema 50+ 220Ml</c:v>
                </c:pt>
                <c:pt idx="5">
                  <c:v>Edgewell Banana Boat Dry Balance Sunscreen Adults Sport Crema 50+ 180Ml</c:v>
                </c:pt>
                <c:pt idx="6">
                  <c:v>Edgewell Banana Boat Dry Balance Sunscreen Adults Sport Spray Liquido 50 220Ml</c:v>
                </c:pt>
                <c:pt idx="7">
                  <c:v>Edgewell Banana Boat Mineral Sunscreen Adults Cosmetics Locion 50 60Ml</c:v>
                </c:pt>
                <c:pt idx="8">
                  <c:v>Edgewell Banana Boat Mineral Sunscreen Adults Sport Locion 50 180Ml</c:v>
                </c:pt>
                <c:pt idx="9">
                  <c:v>Edgewell Banana Boat Ultra Sunscreen Adults Sport Roll-On 60+ 75Ml</c:v>
                </c:pt>
              </c:strCache>
            </c:strRef>
          </c:cat>
          <c:val>
            <c:numRef>
              <c:f>Sheet1!$B$2:$B$11</c:f>
              <c:numCache>
                <c:formatCode>General</c:formatCode>
                <c:ptCount val="10"/>
                <c:pt idx="0">
                  <c:v>310.0</c:v>
                </c:pt>
                <c:pt idx="1">
                  <c:v>305.0</c:v>
                </c:pt>
                <c:pt idx="2">
                  <c:v>349.0</c:v>
                </c:pt>
                <c:pt idx="3">
                  <c:v>305.0</c:v>
                </c:pt>
                <c:pt idx="4">
                  <c:v>249.0</c:v>
                </c:pt>
                <c:pt idx="5">
                  <c:v>335.0</c:v>
                </c:pt>
                <c:pt idx="6">
                  <c:v>385.0</c:v>
                </c:pt>
                <c:pt idx="7">
                  <c:v>310.0</c:v>
                </c:pt>
                <c:pt idx="8">
                  <c:v>249.0</c:v>
                </c:pt>
                <c:pt idx="9">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Crema 50+ 180Ml</c:v>
                </c:pt>
                <c:pt idx="5">
                  <c:v>Edgewell Banana Boat Dry Balance Sunscreen Adults Sport Spray Liquido 50 220Ml</c:v>
                </c:pt>
                <c:pt idx="6">
                  <c:v>Edgewell Banana Boat Mineral Sunscreen Adults Cosmetics Locion 50 60Ml</c:v>
                </c:pt>
                <c:pt idx="7">
                  <c:v>Edgewell Banana Boat Mineral Sunscreen Adults Sport Locion 50 180Ml</c:v>
                </c:pt>
                <c:pt idx="8">
                  <c:v>Edgewell Banana Boat Ultra Sunscreen Adults Sport Roll-On 60+ 75Ml</c:v>
                </c:pt>
              </c:strCache>
            </c:strRef>
          </c:cat>
          <c:val>
            <c:numRef>
              <c:f>Sheet1!$B$2:$B$10</c:f>
              <c:numCache>
                <c:formatCode>General</c:formatCode>
                <c:ptCount val="9"/>
                <c:pt idx="0">
                  <c:v>310.0</c:v>
                </c:pt>
                <c:pt idx="1">
                  <c:v>305.0</c:v>
                </c:pt>
                <c:pt idx="2">
                  <c:v>349.0</c:v>
                </c:pt>
                <c:pt idx="3">
                  <c:v>305.0</c:v>
                </c:pt>
                <c:pt idx="4">
                  <c:v>335.0</c:v>
                </c:pt>
                <c:pt idx="5">
                  <c:v>385.0</c:v>
                </c:pt>
                <c:pt idx="6">
                  <c:v>310.0</c:v>
                </c:pt>
                <c:pt idx="7">
                  <c:v>249.0</c:v>
                </c:pt>
                <c:pt idx="8">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4.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4.0</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Crema 50+ 180Ml</c:v>
                </c:pt>
                <c:pt idx="5">
                  <c:v>Edgewell Banana Boat Dry Balance Sunscreen Adults Sport Spray Liquido 50 220Ml</c:v>
                </c:pt>
                <c:pt idx="6">
                  <c:v>Edgewell Banana Boat Mineral Sunscreen Adults Cosmetics Locion 50 60Ml</c:v>
                </c:pt>
                <c:pt idx="7">
                  <c:v>Edgewell Banana Boat Mineral Sunscreen Adults Sport Locion 50 180Ml</c:v>
                </c:pt>
                <c:pt idx="8">
                  <c:v>Edgewell Banana Boat Ultra Sunscreen Adults Sport Roll-On 60+ 75Ml</c:v>
                </c:pt>
              </c:strCache>
            </c:strRef>
          </c:cat>
          <c:val>
            <c:numRef>
              <c:f>Sheet1!$B$2:$B$10</c:f>
              <c:numCache>
                <c:formatCode>General</c:formatCode>
                <c:ptCount val="9"/>
                <c:pt idx="0">
                  <c:v>310.0</c:v>
                </c:pt>
                <c:pt idx="1">
                  <c:v>305.0</c:v>
                </c:pt>
                <c:pt idx="2">
                  <c:v>349.0</c:v>
                </c:pt>
                <c:pt idx="3">
                  <c:v>305.0</c:v>
                </c:pt>
                <c:pt idx="4">
                  <c:v>335.0</c:v>
                </c:pt>
                <c:pt idx="5">
                  <c:v>385.0</c:v>
                </c:pt>
                <c:pt idx="6">
                  <c:v>310.0</c:v>
                </c:pt>
                <c:pt idx="7">
                  <c:v>249.0</c:v>
                </c:pt>
                <c:pt idx="8">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76.2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76.2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24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Sheer Touch Sunscreen Adults Cosmetics Crema 50 120Ml</c:v>
                </c:pt>
                <c:pt idx="8">
                  <c:v>Edgewell Hawaiian Tropic Sheer Touch Sunscreen Adults Cosmetics Liquido 30 - 49 60Ml</c:v>
                </c:pt>
              </c:strCache>
            </c:strRef>
          </c:cat>
          <c:val>
            <c:numRef>
              <c:f>Sheet1!$B$2:$B$10</c:f>
              <c:numCache>
                <c:formatCode>General</c:formatCode>
                <c:ptCount val="9"/>
                <c:pt idx="0">
                  <c:v>105.0</c:v>
                </c:pt>
                <c:pt idx="1">
                  <c:v>350.0</c:v>
                </c:pt>
                <c:pt idx="2">
                  <c:v>205.0</c:v>
                </c:pt>
                <c:pt idx="3">
                  <c:v>350.0</c:v>
                </c:pt>
                <c:pt idx="4">
                  <c:v>125.0</c:v>
                </c:pt>
                <c:pt idx="5">
                  <c:v>385.0</c:v>
                </c:pt>
                <c:pt idx="6">
                  <c:v>299.0</c:v>
                </c:pt>
                <c:pt idx="7">
                  <c:v>205.0</c:v>
                </c:pt>
                <c:pt idx="8">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Crema 50+ 180Ml</c:v>
                </c:pt>
                <c:pt idx="5">
                  <c:v>Edgewell Banana Boat Dry Balance Sunscreen Adults Sport Spray Liquido 50 220Ml</c:v>
                </c:pt>
                <c:pt idx="6">
                  <c:v>Edgewell Banana Boat Mineral Sunscreen Adults Cosmetics Locion 50 60Ml</c:v>
                </c:pt>
              </c:strCache>
            </c:strRef>
          </c:cat>
          <c:val>
            <c:numRef>
              <c:f>Sheet1!$B$2:$B$8</c:f>
              <c:numCache>
                <c:formatCode>General</c:formatCode>
                <c:ptCount val="7"/>
                <c:pt idx="0">
                  <c:v>310.0</c:v>
                </c:pt>
                <c:pt idx="1">
                  <c:v>305.0</c:v>
                </c:pt>
                <c:pt idx="2">
                  <c:v>349.0</c:v>
                </c:pt>
                <c:pt idx="3">
                  <c:v>305.0</c:v>
                </c:pt>
                <c:pt idx="4">
                  <c:v>335.0</c:v>
                </c:pt>
                <c:pt idx="5">
                  <c:v>385.0</c:v>
                </c:pt>
                <c:pt idx="6">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7.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49.0</a:t>
                    </a:r>
                  </a:p>
                </c:rich>
              </c:tx>
              <c:showLegendKey val="0"/>
              <c:showVal val="1"/>
              <c:showCatName val="0"/>
              <c:showSerName val="0"/>
              <c:showPercent val="0"/>
              <c:showBubbleSize val="0"/>
            </c:dLbl>
            <c:dLbl>
              <c:idx val="5"/>
              <c:tx>
                <c:rich>
                  <a:bodyPr/>
                  <a:lstStyle/>
                  <a:p>
                    <a:r>
                      <a:t>33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9.0</a:t>
                    </a:r>
                  </a:p>
                </c:rich>
              </c:tx>
              <c:showLegendKey val="0"/>
              <c:showVal val="1"/>
              <c:showCatName val="0"/>
              <c:showSerName val="0"/>
              <c:showPercent val="0"/>
              <c:showBubbleSize val="0"/>
            </c:dLbl>
            <c:dLbl>
              <c:idx val="9"/>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Cosmetics Spray Crema 50+ 220Ml</c:v>
                </c:pt>
                <c:pt idx="5">
                  <c:v>Edgewell Banana Boat Dry Balance Sunscreen Adults Sport Crema 50+ 180Ml</c:v>
                </c:pt>
                <c:pt idx="6">
                  <c:v>Edgewell Banana Boat Dry Balance Sunscreen Adults Sport Spray Liquido 50 220Ml</c:v>
                </c:pt>
                <c:pt idx="7">
                  <c:v>Edgewell Banana Boat Mineral Sunscreen Adults Cosmetics Locion 50 60Ml</c:v>
                </c:pt>
                <c:pt idx="8">
                  <c:v>Edgewell Banana Boat Mineral Sunscreen Adults Sport Locion 50 180Ml</c:v>
                </c:pt>
                <c:pt idx="9">
                  <c:v>Edgewell Banana Boat Ultra Sunscreen Adults Sport Roll-On 60+ 75Ml</c:v>
                </c:pt>
              </c:strCache>
            </c:strRef>
          </c:cat>
          <c:val>
            <c:numRef>
              <c:f>Sheet1!$B$2:$B$11</c:f>
              <c:numCache>
                <c:formatCode>General</c:formatCode>
                <c:ptCount val="10"/>
                <c:pt idx="0">
                  <c:v>310.0</c:v>
                </c:pt>
                <c:pt idx="1">
                  <c:v>305.0</c:v>
                </c:pt>
                <c:pt idx="2">
                  <c:v>349.0</c:v>
                </c:pt>
                <c:pt idx="3">
                  <c:v>305.0</c:v>
                </c:pt>
                <c:pt idx="4">
                  <c:v>249.0</c:v>
                </c:pt>
                <c:pt idx="5">
                  <c:v>335.0</c:v>
                </c:pt>
                <c:pt idx="6">
                  <c:v>385.0</c:v>
                </c:pt>
                <c:pt idx="7">
                  <c:v>310.0</c:v>
                </c:pt>
                <c:pt idx="8">
                  <c:v>249.0</c:v>
                </c:pt>
                <c:pt idx="9">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7.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9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Beiersdorf Nivea After Sun Adults Cosmetics Crema 0 - 5 200Ml</c:v>
                </c:pt>
              </c:strCache>
            </c:strRef>
          </c:cat>
          <c:val>
            <c:numRef>
              <c:f>Sheet1!$B$2:$B$3</c:f>
              <c:numCache>
                <c:formatCode>General</c:formatCode>
                <c:ptCount val="2"/>
                <c:pt idx="0">
                  <c:v>105.0</c:v>
                </c:pt>
                <c:pt idx="1">
                  <c:v>9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49.0</a:t>
                    </a:r>
                  </a:p>
                </c:rich>
              </c:tx>
              <c:showLegendKey val="0"/>
              <c:showVal val="1"/>
              <c:showCatName val="0"/>
              <c:showSerName val="0"/>
              <c:showPercent val="0"/>
              <c:showBubbleSize val="0"/>
            </c:dLbl>
            <c:dLbl>
              <c:idx val="5"/>
              <c:tx>
                <c:rich>
                  <a:bodyPr/>
                  <a:lstStyle/>
                  <a:p>
                    <a:r>
                      <a:t>33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9.0</a:t>
                    </a:r>
                  </a:p>
                </c:rich>
              </c:tx>
              <c:showLegendKey val="0"/>
              <c:showVal val="1"/>
              <c:showCatName val="0"/>
              <c:showSerName val="0"/>
              <c:showPercent val="0"/>
              <c:showBubbleSize val="0"/>
            </c:dLbl>
            <c:dLbl>
              <c:idx val="9"/>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Cosmetics Spray Crema 50+ 220Ml</c:v>
                </c:pt>
                <c:pt idx="5">
                  <c:v>Edgewell Banana Boat Dry Balance Sunscreen Adults Sport Crema 50+ 180Ml</c:v>
                </c:pt>
                <c:pt idx="6">
                  <c:v>Edgewell Banana Boat Dry Balance Sunscreen Adults Sport Spray Liquido 50 220Ml</c:v>
                </c:pt>
                <c:pt idx="7">
                  <c:v>Edgewell Banana Boat Mineral Sunscreen Adults Cosmetics Locion 50 60Ml</c:v>
                </c:pt>
                <c:pt idx="8">
                  <c:v>Edgewell Banana Boat Mineral Sunscreen Adults Sport Locion 50 180Ml</c:v>
                </c:pt>
                <c:pt idx="9">
                  <c:v>Edgewell Banana Boat Ultra Sunscreen Adults Sport Roll-On 60+ 75Ml</c:v>
                </c:pt>
              </c:strCache>
            </c:strRef>
          </c:cat>
          <c:val>
            <c:numRef>
              <c:f>Sheet1!$B$2:$B$11</c:f>
              <c:numCache>
                <c:formatCode>General</c:formatCode>
                <c:ptCount val="10"/>
                <c:pt idx="0">
                  <c:v>310.0</c:v>
                </c:pt>
                <c:pt idx="1">
                  <c:v>305.0</c:v>
                </c:pt>
                <c:pt idx="2">
                  <c:v>349.0</c:v>
                </c:pt>
                <c:pt idx="3">
                  <c:v>305.0</c:v>
                </c:pt>
                <c:pt idx="4">
                  <c:v>249.0</c:v>
                </c:pt>
                <c:pt idx="5">
                  <c:v>335.0</c:v>
                </c:pt>
                <c:pt idx="6">
                  <c:v>385.0</c:v>
                </c:pt>
                <c:pt idx="7">
                  <c:v>310.0</c:v>
                </c:pt>
                <c:pt idx="8">
                  <c:v>249.0</c:v>
                </c:pt>
                <c:pt idx="9">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7.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49.0</a:t>
                    </a:r>
                  </a:p>
                </c:rich>
              </c:tx>
              <c:showLegendKey val="0"/>
              <c:showVal val="1"/>
              <c:showCatName val="0"/>
              <c:showSerName val="0"/>
              <c:showPercent val="0"/>
              <c:showBubbleSize val="0"/>
            </c:dLbl>
            <c:dLbl>
              <c:idx val="5"/>
              <c:tx>
                <c:rich>
                  <a:bodyPr/>
                  <a:lstStyle/>
                  <a:p>
                    <a:r>
                      <a:t>33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9.0</a:t>
                    </a:r>
                  </a:p>
                </c:rich>
              </c:tx>
              <c:showLegendKey val="0"/>
              <c:showVal val="1"/>
              <c:showCatName val="0"/>
              <c:showSerName val="0"/>
              <c:showPercent val="0"/>
              <c:showBubbleSize val="0"/>
            </c:dLbl>
            <c:dLbl>
              <c:idx val="9"/>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Cosmetics Spray Crema 50+ 220Ml</c:v>
                </c:pt>
                <c:pt idx="5">
                  <c:v>Edgewell Banana Boat Dry Balance Sunscreen Adults Sport Crema 50+ 180Ml</c:v>
                </c:pt>
                <c:pt idx="6">
                  <c:v>Edgewell Banana Boat Dry Balance Sunscreen Adults Sport Spray Liquido 50 220Ml</c:v>
                </c:pt>
                <c:pt idx="7">
                  <c:v>Edgewell Banana Boat Mineral Sunscreen Adults Cosmetics Locion 50 60Ml</c:v>
                </c:pt>
                <c:pt idx="8">
                  <c:v>Edgewell Banana Boat Mineral Sunscreen Adults Sport Locion 50 180Ml</c:v>
                </c:pt>
                <c:pt idx="9">
                  <c:v>Edgewell Banana Boat Ultra Sunscreen Adults Sport Roll-On 60+ 75Ml</c:v>
                </c:pt>
              </c:strCache>
            </c:strRef>
          </c:cat>
          <c:val>
            <c:numRef>
              <c:f>Sheet1!$B$2:$B$11</c:f>
              <c:numCache>
                <c:formatCode>General</c:formatCode>
                <c:ptCount val="10"/>
                <c:pt idx="0">
                  <c:v>310.0</c:v>
                </c:pt>
                <c:pt idx="1">
                  <c:v>305.0</c:v>
                </c:pt>
                <c:pt idx="2">
                  <c:v>349.0</c:v>
                </c:pt>
                <c:pt idx="3">
                  <c:v>305.0</c:v>
                </c:pt>
                <c:pt idx="4">
                  <c:v>249.0</c:v>
                </c:pt>
                <c:pt idx="5">
                  <c:v>335.0</c:v>
                </c:pt>
                <c:pt idx="6">
                  <c:v>385.0</c:v>
                </c:pt>
                <c:pt idx="7">
                  <c:v>310.0</c:v>
                </c:pt>
                <c:pt idx="8">
                  <c:v>249.0</c:v>
                </c:pt>
                <c:pt idx="9">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7.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Crema 50+ 180Ml</c:v>
                </c:pt>
                <c:pt idx="5">
                  <c:v>Edgewell Banana Boat Dry Balance Sunscreen Adults Sport Spray Liquido 50 220Ml</c:v>
                </c:pt>
                <c:pt idx="6">
                  <c:v>Edgewell Banana Boat Mineral Sunscreen Adults Cosmetics Locion 50 60Ml</c:v>
                </c:pt>
                <c:pt idx="7">
                  <c:v>Edgewell Banana Boat Mineral Sunscreen Adults Sport Locion 50 180Ml</c:v>
                </c:pt>
                <c:pt idx="8">
                  <c:v>Edgewell Banana Boat Ultra Sunscreen Adults Sport Roll-On 60+ 75Ml</c:v>
                </c:pt>
              </c:strCache>
            </c:strRef>
          </c:cat>
          <c:val>
            <c:numRef>
              <c:f>Sheet1!$B$2:$B$10</c:f>
              <c:numCache>
                <c:formatCode>General</c:formatCode>
                <c:ptCount val="9"/>
                <c:pt idx="0">
                  <c:v>310.0</c:v>
                </c:pt>
                <c:pt idx="1">
                  <c:v>305.0</c:v>
                </c:pt>
                <c:pt idx="2">
                  <c:v>349.0</c:v>
                </c:pt>
                <c:pt idx="3">
                  <c:v>305.0</c:v>
                </c:pt>
                <c:pt idx="4">
                  <c:v>335.0</c:v>
                </c:pt>
                <c:pt idx="5">
                  <c:v>385.0</c:v>
                </c:pt>
                <c:pt idx="6">
                  <c:v>310.0</c:v>
                </c:pt>
                <c:pt idx="7">
                  <c:v>249.0</c:v>
                </c:pt>
                <c:pt idx="8">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1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205.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12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299.0</a:t>
                    </a:r>
                  </a:p>
                </c:rich>
              </c:tx>
              <c:showLegendKey val="0"/>
              <c:showVal val="1"/>
              <c:showCatName val="0"/>
              <c:showSerName val="0"/>
              <c:showPercent val="0"/>
              <c:showBubbleSize val="0"/>
            </c:dLbl>
            <c:dLbl>
              <c:idx val="10"/>
              <c:tx>
                <c:rich>
                  <a:bodyPr/>
                  <a:lstStyle/>
                  <a:p>
                    <a:r>
                      <a:t>205.0</a:t>
                    </a:r>
                  </a:p>
                </c:rich>
              </c:tx>
              <c:showLegendKey val="0"/>
              <c:showVal val="1"/>
              <c:showCatName val="0"/>
              <c:showSerName val="0"/>
              <c:showPercent val="0"/>
              <c:showBubbleSize val="0"/>
            </c:dLbl>
            <c:dLbl>
              <c:idx val="11"/>
              <c:tx>
                <c:rich>
                  <a:bodyPr/>
                  <a:lstStyle/>
                  <a:p>
                    <a:r>
                      <a:t>105.0</a:t>
                    </a:r>
                  </a:p>
                </c:rich>
              </c:tx>
              <c:showLegendKey val="0"/>
              <c:showVal val="1"/>
              <c:showCatName val="0"/>
              <c:showSerName val="0"/>
              <c:showPercent val="0"/>
              <c:showBubbleSize val="0"/>
            </c:dLbl>
            <c:dLbl>
              <c:idx val="1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Hawaiian Tropic After Sun After Sun Adults Cosmetics Gel 0 - 5 240Ml</c:v>
                </c:pt>
                <c:pt idx="1">
                  <c:v>Edgewell Hawaiian Tropic Carrot Tanning Adults Cosmetics Crema 10 - 14 240Ml</c:v>
                </c:pt>
                <c:pt idx="2">
                  <c:v>Edgewell Hawaiian Tropic Island Sport Sunscreen Adults Sport Liquido 50 60Ml</c:v>
                </c:pt>
                <c:pt idx="3">
                  <c:v>Edgewell Hawaiian Tropic Other Sunscreen Adults Cosmetics Crema 50+ 240Ml</c:v>
                </c:pt>
                <c:pt idx="4">
                  <c:v>Edgewell Hawaiian Tropic Ozono Sunscreen Adults Cosmetics Liquido 50+ 120Ml</c:v>
                </c:pt>
                <c:pt idx="5">
                  <c:v>Edgewell Hawaiian Tropic Ozono Sunscreen Adults Cosmetics Liquido 50+ 180Ml</c:v>
                </c:pt>
                <c:pt idx="6">
                  <c:v>Edgewell Hawaiian Tropic Ozono Sunscreen Adults Cosmetics Liquido 50+ 240Ml</c:v>
                </c:pt>
                <c:pt idx="7">
                  <c:v>Edgewell Hawaiian Tropic Ozono Sunscreen Adults Cosmetics Liquido 50+ 90Ml</c:v>
                </c:pt>
                <c:pt idx="8">
                  <c:v>Edgewell Hawaiian Tropic Ozono Sunscreen Adults Cosmetics Spray Liquido 50+ 180Ml</c:v>
                </c:pt>
                <c:pt idx="9">
                  <c:v>Edgewell Hawaiian Tropic Sheer Touch Sunscreen Adults Cosmetics Crema 30 - 49 240Ml</c:v>
                </c:pt>
                <c:pt idx="10">
                  <c:v>Edgewell Hawaiian Tropic Sheer Touch Sunscreen Adults Cosmetics Crema 50 120Ml</c:v>
                </c:pt>
                <c:pt idx="11">
                  <c:v>Edgewell Hawaiian Tropic Sheer Touch Sunscreen Adults Cosmetics Liquido 30 - 49 60Ml</c:v>
                </c:pt>
                <c:pt idx="12">
                  <c:v>Edgewell Hawaiian Tropic Tanning Sunscreen Adults Cosmetics Spray Liquido 15 - 19 220Ml</c:v>
                </c:pt>
              </c:strCache>
            </c:strRef>
          </c:cat>
          <c:val>
            <c:numRef>
              <c:f>Sheet1!$B$2:$B$14</c:f>
              <c:numCache>
                <c:formatCode>General</c:formatCode>
                <c:ptCount val="13"/>
                <c:pt idx="0">
                  <c:v>299.0</c:v>
                </c:pt>
                <c:pt idx="1">
                  <c:v>299.0</c:v>
                </c:pt>
                <c:pt idx="2">
                  <c:v>105.0</c:v>
                </c:pt>
                <c:pt idx="3">
                  <c:v>350.0</c:v>
                </c:pt>
                <c:pt idx="4">
                  <c:v>205.0</c:v>
                </c:pt>
                <c:pt idx="5">
                  <c:v>350.0</c:v>
                </c:pt>
                <c:pt idx="6">
                  <c:v>350.0</c:v>
                </c:pt>
                <c:pt idx="7">
                  <c:v>125.0</c:v>
                </c:pt>
                <c:pt idx="8">
                  <c:v>385.0</c:v>
                </c:pt>
                <c:pt idx="9">
                  <c:v>299.0</c:v>
                </c:pt>
                <c:pt idx="10">
                  <c:v>205.0</c:v>
                </c:pt>
                <c:pt idx="11">
                  <c:v>105.0</c:v>
                </c:pt>
                <c:pt idx="1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7.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85.0</a:t>
                    </a:r>
                  </a:p>
                </c:rich>
              </c:tx>
              <c:showLegendKey val="0"/>
              <c:showVal val="1"/>
              <c:showCatName val="0"/>
              <c:showSerName val="0"/>
              <c:showPercent val="0"/>
              <c:showBubbleSize val="0"/>
            </c:dLbl>
            <c:dLbl>
              <c:idx val="5"/>
              <c:tx>
                <c:rich>
                  <a:bodyPr/>
                  <a:lstStyle/>
                  <a:p>
                    <a:r>
                      <a:t>205.0</a:t>
                    </a:r>
                  </a:p>
                </c:rich>
              </c:tx>
              <c:showLegendKey val="0"/>
              <c:showVal val="1"/>
              <c:showCatName val="0"/>
              <c:showSerName val="0"/>
              <c:showPercent val="0"/>
              <c:showBubbleSize val="0"/>
            </c:dLbl>
            <c:dLbl>
              <c:idx val="6"/>
              <c:tx>
                <c:rich>
                  <a:bodyPr/>
                  <a:lstStyle/>
                  <a:p>
                    <a:r>
                      <a:t>105.0</a:t>
                    </a:r>
                  </a:p>
                </c:rich>
              </c:tx>
              <c:showLegendKey val="0"/>
              <c:showVal val="1"/>
              <c:showCatName val="0"/>
              <c:showSerName val="0"/>
              <c:showPercent val="0"/>
              <c:showBubbleSize val="0"/>
            </c:dLbl>
            <c:dLbl>
              <c:idx val="7"/>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Hawaiian Tropic Island Sport Sunscreen Adults Sport Liquido 50 60Ml</c:v>
                </c:pt>
                <c:pt idx="1">
                  <c:v>Edgewell Hawaiian Tropic Other Sunscreen Adults Cosmetics Crema 50+ 240Ml</c:v>
                </c:pt>
                <c:pt idx="2">
                  <c:v>Edgewell Hawaiian Tropic Ozono Sunscreen Adults Cosmetics Liquido 50+ 180Ml</c:v>
                </c:pt>
                <c:pt idx="3">
                  <c:v>Edgewell Hawaiian Tropic Ozono Sunscreen Adults Cosmetics Liquido 50+ 240Ml</c:v>
                </c:pt>
                <c:pt idx="4">
                  <c:v>Edgewell Hawaiian Tropic Ozono Sunscreen Adults Cosmetics Spray Liquido 50+ 180Ml</c:v>
                </c:pt>
                <c:pt idx="5">
                  <c:v>Edgewell Hawaiian Tropic Sheer Touch Sunscreen Adults Cosmetics Crema 50 120Ml</c:v>
                </c:pt>
                <c:pt idx="6">
                  <c:v>Edgewell Hawaiian Tropic Sheer Touch Sunscreen Adults Cosmetics Liquido 30 - 49 60Ml</c:v>
                </c:pt>
                <c:pt idx="7">
                  <c:v>Edgewell Hawaiian Tropic Tanning Sunscreen Adults Cosmetics Spray Liquido 15 - 19 220Ml</c:v>
                </c:pt>
              </c:strCache>
            </c:strRef>
          </c:cat>
          <c:val>
            <c:numRef>
              <c:f>Sheet1!$B$2:$B$9</c:f>
              <c:numCache>
                <c:formatCode>General</c:formatCode>
                <c:ptCount val="8"/>
                <c:pt idx="0">
                  <c:v>105.0</c:v>
                </c:pt>
                <c:pt idx="1">
                  <c:v>350.0</c:v>
                </c:pt>
                <c:pt idx="2">
                  <c:v>350.0</c:v>
                </c:pt>
                <c:pt idx="3">
                  <c:v>350.0</c:v>
                </c:pt>
                <c:pt idx="4">
                  <c:v>385.0</c:v>
                </c:pt>
                <c:pt idx="5">
                  <c:v>205.0</c:v>
                </c:pt>
                <c:pt idx="6">
                  <c:v>105.0</c:v>
                </c:pt>
                <c:pt idx="7">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85.0</a:t>
                    </a:r>
                  </a:p>
                </c:rich>
              </c:tx>
              <c:showLegendKey val="0"/>
              <c:showVal val="1"/>
              <c:showCatName val="0"/>
              <c:showSerName val="0"/>
              <c:showPercent val="0"/>
              <c:showBubbleSize val="0"/>
            </c:dLbl>
            <c:dLbl>
              <c:idx val="5"/>
              <c:tx>
                <c:rich>
                  <a:bodyPr/>
                  <a:lstStyle/>
                  <a:p>
                    <a:r>
                      <a:t>310.0</a:t>
                    </a:r>
                  </a:p>
                </c:rich>
              </c:tx>
              <c:showLegendKey val="0"/>
              <c:showVal val="1"/>
              <c:showCatName val="0"/>
              <c:showSerName val="0"/>
              <c:showPercent val="0"/>
              <c:showBubbleSize val="0"/>
            </c:dLbl>
            <c:dLbl>
              <c:idx val="6"/>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Spray Liquido 50 220Ml</c:v>
                </c:pt>
                <c:pt idx="5">
                  <c:v>Edgewell Banana Boat Mineral Sunscreen Adults Cosmetics Locion 50 60Ml</c:v>
                </c:pt>
                <c:pt idx="6">
                  <c:v>Edgewell Banana Boat Mineral Sunscreen Adults Sport Locion 50 180Ml</c:v>
                </c:pt>
              </c:strCache>
            </c:strRef>
          </c:cat>
          <c:val>
            <c:numRef>
              <c:f>Sheet1!$B$2:$B$8</c:f>
              <c:numCache>
                <c:formatCode>General</c:formatCode>
                <c:ptCount val="7"/>
                <c:pt idx="0">
                  <c:v>310.0</c:v>
                </c:pt>
                <c:pt idx="1">
                  <c:v>305.0</c:v>
                </c:pt>
                <c:pt idx="2">
                  <c:v>349.0</c:v>
                </c:pt>
                <c:pt idx="3">
                  <c:v>305.0</c:v>
                </c:pt>
                <c:pt idx="4">
                  <c:v>385.0</c:v>
                </c:pt>
                <c:pt idx="5">
                  <c:v>310.0</c:v>
                </c:pt>
                <c:pt idx="6">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85.0</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7.5</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335.0</a:t>
                    </a:r>
                  </a:p>
                </c:rich>
              </c:tx>
              <c:showLegendKey val="0"/>
              <c:showVal val="1"/>
              <c:showCatName val="0"/>
              <c:showSerName val="0"/>
              <c:showPercent val="0"/>
              <c:showBubbleSize val="0"/>
            </c:dLbl>
            <c:dLbl>
              <c:idx val="9"/>
              <c:tx>
                <c:rich>
                  <a:bodyPr/>
                  <a:lstStyle/>
                  <a:p>
                    <a:r>
                      <a:t>385.0</a:t>
                    </a:r>
                  </a:p>
                </c:rich>
              </c:tx>
              <c:showLegendKey val="0"/>
              <c:showVal val="1"/>
              <c:showCatName val="0"/>
              <c:showSerName val="0"/>
              <c:showPercent val="0"/>
              <c:showBubbleSize val="0"/>
            </c:dLbl>
            <c:dLbl>
              <c:idx val="10"/>
              <c:tx>
                <c:rich>
                  <a:bodyPr/>
                  <a:lstStyle/>
                  <a:p>
                    <a:r>
                      <a:t>305.0</a:t>
                    </a:r>
                  </a:p>
                </c:rich>
              </c:tx>
              <c:showLegendKey val="0"/>
              <c:showVal val="1"/>
              <c:showCatName val="0"/>
              <c:showSerName val="0"/>
              <c:showPercent val="0"/>
              <c:showBubbleSize val="0"/>
            </c:dLbl>
            <c:dLbl>
              <c:idx val="11"/>
              <c:tx>
                <c:rich>
                  <a:bodyPr/>
                  <a:lstStyle/>
                  <a:p>
                    <a:r>
                      <a:t>310.0</a:t>
                    </a:r>
                  </a:p>
                </c:rich>
              </c:tx>
              <c:showLegendKey val="0"/>
              <c:showVal val="1"/>
              <c:showCatName val="0"/>
              <c:showSerName val="0"/>
              <c:showPercent val="0"/>
              <c:showBubbleSize val="0"/>
            </c:dLbl>
            <c:dLbl>
              <c:idx val="12"/>
              <c:tx>
                <c:rich>
                  <a:bodyPr/>
                  <a:lstStyle/>
                  <a:p>
                    <a:r>
                      <a:t>249.0</a:t>
                    </a:r>
                  </a:p>
                </c:rich>
              </c:tx>
              <c:showLegendKey val="0"/>
              <c:showVal val="1"/>
              <c:showCatName val="0"/>
              <c:showSerName val="0"/>
              <c:showPercent val="0"/>
              <c:showBubbleSize val="0"/>
            </c:dLbl>
            <c:dLbl>
              <c:idx val="13"/>
              <c:tx>
                <c:rich>
                  <a:bodyPr/>
                  <a:lstStyle/>
                  <a:p>
                    <a:r>
                      <a:t>242.0</a:t>
                    </a:r>
                  </a:p>
                </c:rich>
              </c:tx>
              <c:showLegendKey val="0"/>
              <c:showVal val="1"/>
              <c:showCatName val="0"/>
              <c:showSerName val="0"/>
              <c:showPercent val="0"/>
              <c:showBubbleSize val="0"/>
            </c:dLbl>
            <c:dLbl>
              <c:idx val="14"/>
              <c:tx>
                <c:rich>
                  <a:bodyPr/>
                  <a:lstStyle/>
                  <a:p>
                    <a:r>
                      <a:t>279.0</a:t>
                    </a:r>
                  </a:p>
                </c:rich>
              </c:tx>
              <c:showLegendKey val="0"/>
              <c:showVal val="1"/>
              <c:showCatName val="0"/>
              <c:showSerName val="0"/>
              <c:showPercent val="0"/>
              <c:showBubbleSize val="0"/>
            </c:dLbl>
            <c:dLbl>
              <c:idx val="15"/>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Cosmetics Spray Crema 50+ 220Ml</c:v>
                </c:pt>
                <c:pt idx="8">
                  <c:v>Edgewell Banana Boat Dry Balance Sunscreen Adults Sport Crema 50+ 180Ml</c:v>
                </c:pt>
                <c:pt idx="9">
                  <c:v>Edgewell Banana Boat Dry Balance Sunscreen Adults Sport Spray Liquido 50 220Ml</c:v>
                </c:pt>
                <c:pt idx="10">
                  <c:v>Edgewell Banana Boat Kids Sport Sunscreen Kids Cosmetics Crema 50 180Ml</c:v>
                </c:pt>
                <c:pt idx="11">
                  <c:v>Edgewell Banana Boat Mineral Sunscreen Adults Cosmetics Locion 50 60Ml</c:v>
                </c:pt>
                <c:pt idx="12">
                  <c:v>Edgewell Banana Boat Mineral Sunscreen Adults Sport Locion 50 180Ml</c:v>
                </c:pt>
                <c:pt idx="13">
                  <c:v>Edgewell Banana Boat Mineral Sunscreen Kids Cosmetics Locion 50 180Ml</c:v>
                </c:pt>
                <c:pt idx="14">
                  <c:v>Edgewell Banana Boat Tanning Tanning Adults Cosmetics Spray Aceite 0 - 5 237Ml</c:v>
                </c:pt>
                <c:pt idx="15">
                  <c:v>Edgewell Banana Boat Ultra Sunscreen Adults Sport Roll-On 60+ 75Ml</c:v>
                </c:pt>
              </c:strCache>
            </c:strRef>
          </c:cat>
          <c:val>
            <c:numRef>
              <c:f>Sheet1!$B$2:$B$17</c:f>
              <c:numCache>
                <c:formatCode>General</c:formatCode>
                <c:ptCount val="16"/>
                <c:pt idx="0">
                  <c:v>310.0</c:v>
                </c:pt>
                <c:pt idx="1">
                  <c:v>105.0</c:v>
                </c:pt>
                <c:pt idx="2">
                  <c:v>305.0</c:v>
                </c:pt>
                <c:pt idx="3">
                  <c:v>349.0</c:v>
                </c:pt>
                <c:pt idx="4">
                  <c:v>305.0</c:v>
                </c:pt>
                <c:pt idx="5">
                  <c:v>367.5</c:v>
                </c:pt>
                <c:pt idx="6">
                  <c:v>305.0</c:v>
                </c:pt>
                <c:pt idx="7">
                  <c:v>249.0</c:v>
                </c:pt>
                <c:pt idx="8">
                  <c:v>335.0</c:v>
                </c:pt>
                <c:pt idx="9">
                  <c:v>385.0</c:v>
                </c:pt>
                <c:pt idx="10">
                  <c:v>305.0</c:v>
                </c:pt>
                <c:pt idx="11">
                  <c:v>310.0</c:v>
                </c:pt>
                <c:pt idx="12">
                  <c:v>249.0</c:v>
                </c:pt>
                <c:pt idx="13">
                  <c:v>242.0</c:v>
                </c:pt>
                <c:pt idx="14">
                  <c:v>279.0</c:v>
                </c:pt>
                <c:pt idx="15">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Crema 50+ 180Ml</c:v>
                </c:pt>
                <c:pt idx="5">
                  <c:v>Edgewell Banana Boat Dry Balance Sunscreen Adults Sport Spray Liquido 50 220Ml</c:v>
                </c:pt>
                <c:pt idx="6">
                  <c:v>Edgewell Banana Boat Mineral Sunscreen Adults Cosmetics Locion 50 60Ml</c:v>
                </c:pt>
                <c:pt idx="7">
                  <c:v>Edgewell Banana Boat Mineral Sunscreen Adults Sport Locion 50 180Ml</c:v>
                </c:pt>
                <c:pt idx="8">
                  <c:v>Edgewell Banana Boat Ultra Sunscreen Adults Sport Roll-On 60+ 75Ml</c:v>
                </c:pt>
              </c:strCache>
            </c:strRef>
          </c:cat>
          <c:val>
            <c:numRef>
              <c:f>Sheet1!$B$2:$B$10</c:f>
              <c:numCache>
                <c:formatCode>General</c:formatCode>
                <c:ptCount val="9"/>
                <c:pt idx="0">
                  <c:v>310.0</c:v>
                </c:pt>
                <c:pt idx="1">
                  <c:v>305.0</c:v>
                </c:pt>
                <c:pt idx="2">
                  <c:v>349.0</c:v>
                </c:pt>
                <c:pt idx="3">
                  <c:v>305.0</c:v>
                </c:pt>
                <c:pt idx="4">
                  <c:v>335.0</c:v>
                </c:pt>
                <c:pt idx="5">
                  <c:v>385.0</c:v>
                </c:pt>
                <c:pt idx="6">
                  <c:v>310.0</c:v>
                </c:pt>
                <c:pt idx="7">
                  <c:v>249.0</c:v>
                </c:pt>
                <c:pt idx="8">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7.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strCache>
            </c:strRef>
          </c:cat>
          <c:val>
            <c:numRef>
              <c:f>Sheet1!$B$2:$B$11</c:f>
              <c:numCache>
                <c:formatCode>General</c:formatCode>
                <c:ptCount val="10"/>
                <c:pt idx="0">
                  <c:v>105.0</c:v>
                </c:pt>
                <c:pt idx="1">
                  <c:v>350.0</c:v>
                </c:pt>
                <c:pt idx="2">
                  <c:v>205.0</c:v>
                </c:pt>
                <c:pt idx="3">
                  <c:v>350.0</c:v>
                </c:pt>
                <c:pt idx="4">
                  <c:v>350.0</c:v>
                </c:pt>
                <c:pt idx="5">
                  <c:v>125.0</c:v>
                </c:pt>
                <c:pt idx="6">
                  <c:v>385.0</c:v>
                </c:pt>
                <c:pt idx="7">
                  <c:v>299.0</c:v>
                </c:pt>
                <c:pt idx="8">
                  <c:v>205.0</c:v>
                </c:pt>
                <c:pt idx="9">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Crema 50+ 180Ml</c:v>
                </c:pt>
                <c:pt idx="5">
                  <c:v>Edgewell Banana Boat Dry Balance Sunscreen Adults Sport Spray Liquido 50 220Ml</c:v>
                </c:pt>
                <c:pt idx="6">
                  <c:v>Edgewell Banana Boat Mineral Sunscreen Adults Cosmetics Locion 50 60Ml</c:v>
                </c:pt>
                <c:pt idx="7">
                  <c:v>Edgewell Banana Boat Mineral Sunscreen Adults Sport Locion 50 180Ml</c:v>
                </c:pt>
              </c:strCache>
            </c:strRef>
          </c:cat>
          <c:val>
            <c:numRef>
              <c:f>Sheet1!$B$2:$B$9</c:f>
              <c:numCache>
                <c:formatCode>General</c:formatCode>
                <c:ptCount val="8"/>
                <c:pt idx="0">
                  <c:v>310.0</c:v>
                </c:pt>
                <c:pt idx="1">
                  <c:v>305.0</c:v>
                </c:pt>
                <c:pt idx="2">
                  <c:v>349.0</c:v>
                </c:pt>
                <c:pt idx="3">
                  <c:v>305.0</c:v>
                </c:pt>
                <c:pt idx="4">
                  <c:v>335.0</c:v>
                </c:pt>
                <c:pt idx="5">
                  <c:v>385.0</c:v>
                </c:pt>
                <c:pt idx="6">
                  <c:v>310.0</c:v>
                </c:pt>
                <c:pt idx="7">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50.0</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Crema 50+ 180Ml</c:v>
                </c:pt>
                <c:pt idx="5">
                  <c:v>Edgewell Banana Boat Dry Balance Sunscreen Adults Sport Spray Liquido 50 220Ml</c:v>
                </c:pt>
                <c:pt idx="6">
                  <c:v>Edgewell Banana Boat Mineral Sunscreen Adults Cosmetics Locion 50 60Ml</c:v>
                </c:pt>
                <c:pt idx="7">
                  <c:v>Edgewell Banana Boat Mineral Sunscreen Adults Sport Locion 50 180Ml</c:v>
                </c:pt>
                <c:pt idx="8">
                  <c:v>Edgewell Banana Boat Ultra Sunscreen Adults Sport Roll-On 60+ 75Ml</c:v>
                </c:pt>
              </c:strCache>
            </c:strRef>
          </c:cat>
          <c:val>
            <c:numRef>
              <c:f>Sheet1!$B$2:$B$10</c:f>
              <c:numCache>
                <c:formatCode>General</c:formatCode>
                <c:ptCount val="9"/>
                <c:pt idx="0">
                  <c:v>310.0</c:v>
                </c:pt>
                <c:pt idx="1">
                  <c:v>305.0</c:v>
                </c:pt>
                <c:pt idx="2">
                  <c:v>349.0</c:v>
                </c:pt>
                <c:pt idx="3">
                  <c:v>305.0</c:v>
                </c:pt>
                <c:pt idx="4">
                  <c:v>335.0</c:v>
                </c:pt>
                <c:pt idx="5">
                  <c:v>385.0</c:v>
                </c:pt>
                <c:pt idx="6">
                  <c:v>310.0</c:v>
                </c:pt>
                <c:pt idx="7">
                  <c:v>249.0</c:v>
                </c:pt>
                <c:pt idx="8">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7.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24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Sheer Touch Sunscreen Adults Cosmetics Crema 50 120Ml</c:v>
                </c:pt>
                <c:pt idx="8">
                  <c:v>Edgewell Hawaiian Tropic Sheer Touch Sunscreen Adults Cosmetics Liquido 30 - 49 60Ml</c:v>
                </c:pt>
              </c:strCache>
            </c:strRef>
          </c:cat>
          <c:val>
            <c:numRef>
              <c:f>Sheet1!$B$2:$B$10</c:f>
              <c:numCache>
                <c:formatCode>General</c:formatCode>
                <c:ptCount val="9"/>
                <c:pt idx="0">
                  <c:v>105.0</c:v>
                </c:pt>
                <c:pt idx="1">
                  <c:v>350.0</c:v>
                </c:pt>
                <c:pt idx="2">
                  <c:v>205.0</c:v>
                </c:pt>
                <c:pt idx="3">
                  <c:v>350.0</c:v>
                </c:pt>
                <c:pt idx="4">
                  <c:v>125.0</c:v>
                </c:pt>
                <c:pt idx="5">
                  <c:v>385.0</c:v>
                </c:pt>
                <c:pt idx="6">
                  <c:v>299.0</c:v>
                </c:pt>
                <c:pt idx="7">
                  <c:v>205.0</c:v>
                </c:pt>
                <c:pt idx="8">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eauty Care Antioxidant Sunscreen Adults Cosmetics Liquido 50+ 50Ml</c:v>
                </c:pt>
                <c:pt idx="1">
                  <c:v>Edgewell Beauty Care Sensitive Sunscreen Adults Cosmetics Liquido 50+ 50Ml</c:v>
                </c:pt>
              </c:strCache>
            </c:strRef>
          </c:cat>
          <c:val>
            <c:numRef>
              <c:f>Sheet1!$B$2:$B$3</c:f>
              <c:numCache>
                <c:formatCode>General</c:formatCode>
                <c:ptCount val="2"/>
                <c:pt idx="0">
                  <c:v>179.0</c:v>
                </c:pt>
                <c:pt idx="1">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Banded Pack Banded Pack 2X Sunscreen Multi 50+ 170Ml</c:v>
                </c:pt>
                <c:pt idx="1">
                  <c:v>Edgewell Banana Boat Banded Pack Banded Pack 2X Sunscreen Multi 50+ 236Ml</c:v>
                </c:pt>
                <c:pt idx="2">
                  <c:v>Edgewell Banana Boat Kids Sport Sunscreen Kids Cosmetics Crema 50 180Ml</c:v>
                </c:pt>
              </c:strCache>
            </c:strRef>
          </c:cat>
          <c:val>
            <c:numRef>
              <c:f>Sheet1!$B$2:$B$4</c:f>
              <c:numCache>
                <c:formatCode>General</c:formatCode>
                <c:ptCount val="3"/>
                <c:pt idx="0">
                  <c:v>367.5</c:v>
                </c:pt>
                <c:pt idx="1">
                  <c:v>305.0</c:v>
                </c:pt>
                <c:pt idx="2">
                  <c:v>3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125.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Other Sunscreen Adults Cosmetics Crema 50+ 240Ml</c:v>
                </c:pt>
                <c:pt idx="1">
                  <c:v>Edgewell Hawaiian Tropic Ozono Sunscreen Adults Cosmetics Liquido 50+ 240Ml</c:v>
                </c:pt>
                <c:pt idx="2">
                  <c:v>Edgewell Hawaiian Tropic Ozono Sunscreen Adults Cosmetics Liquido 50+ 90Ml</c:v>
                </c:pt>
                <c:pt idx="3">
                  <c:v>Edgewell Hawaiian Tropic Sheer Touch Sunscreen Adults Cosmetics Crema 50 120Ml</c:v>
                </c:pt>
              </c:strCache>
            </c:strRef>
          </c:cat>
          <c:val>
            <c:numRef>
              <c:f>Sheet1!$B$2:$B$5</c:f>
              <c:numCache>
                <c:formatCode>General</c:formatCode>
                <c:ptCount val="4"/>
                <c:pt idx="0">
                  <c:v>350.0</c:v>
                </c:pt>
                <c:pt idx="1">
                  <c:v>350.0</c:v>
                </c:pt>
                <c:pt idx="2">
                  <c:v>125.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3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dvanced Protection Sunscreen Adults Cosmetics Liquido 50+ 240Ml</c:v>
                </c:pt>
                <c:pt idx="1">
                  <c:v>Edgewell Banana Boat Aqua Protect Sunscreen Adults Cosmetics Crema 50+ 236Ml</c:v>
                </c:pt>
                <c:pt idx="2">
                  <c:v>Edgewell Banana Boat Aqua Protect Sunscreen Adults Sport Crema 50+ 236Ml</c:v>
                </c:pt>
                <c:pt idx="3">
                  <c:v>Edgewell Banana Boat Dry Balance Sunscreen Adults Sport Crema 50+ 180Ml</c:v>
                </c:pt>
              </c:strCache>
            </c:strRef>
          </c:cat>
          <c:val>
            <c:numRef>
              <c:f>Sheet1!$B$2:$B$5</c:f>
              <c:numCache>
                <c:formatCode>General</c:formatCode>
                <c:ptCount val="4"/>
                <c:pt idx="0">
                  <c:v>310.0</c:v>
                </c:pt>
                <c:pt idx="1">
                  <c:v>305.0</c:v>
                </c:pt>
                <c:pt idx="2">
                  <c:v>305.0</c:v>
                </c:pt>
                <c:pt idx="3">
                  <c:v>33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eauty Care Sensitive Sunscreen Adults Cosmetics Liquido 50+ 50Ml</c:v>
                </c:pt>
              </c:strCache>
            </c:strRef>
          </c:cat>
          <c:val>
            <c:numRef>
              <c:f>Sheet1!$B$2:$B$2</c:f>
              <c:numCache>
                <c:formatCode>General</c:formatCode>
                <c:ptCount val="1"/>
                <c:pt idx="0">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1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205.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12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299.0</a:t>
                    </a:r>
                  </a:p>
                </c:rich>
              </c:tx>
              <c:showLegendKey val="0"/>
              <c:showVal val="1"/>
              <c:showCatName val="0"/>
              <c:showSerName val="0"/>
              <c:showPercent val="0"/>
              <c:showBubbleSize val="0"/>
            </c:dLbl>
            <c:dLbl>
              <c:idx val="10"/>
              <c:tx>
                <c:rich>
                  <a:bodyPr/>
                  <a:lstStyle/>
                  <a:p>
                    <a:r>
                      <a:t>205.0</a:t>
                    </a:r>
                  </a:p>
                </c:rich>
              </c:tx>
              <c:showLegendKey val="0"/>
              <c:showVal val="1"/>
              <c:showCatName val="0"/>
              <c:showSerName val="0"/>
              <c:showPercent val="0"/>
              <c:showBubbleSize val="0"/>
            </c:dLbl>
            <c:dLbl>
              <c:idx val="11"/>
              <c:tx>
                <c:rich>
                  <a:bodyPr/>
                  <a:lstStyle/>
                  <a:p>
                    <a:r>
                      <a:t>105.0</a:t>
                    </a:r>
                  </a:p>
                </c:rich>
              </c:tx>
              <c:showLegendKey val="0"/>
              <c:showVal val="1"/>
              <c:showCatName val="0"/>
              <c:showSerName val="0"/>
              <c:showPercent val="0"/>
              <c:showBubbleSize val="0"/>
            </c:dLbl>
            <c:dLbl>
              <c:idx val="1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Hawaiian Tropic After Sun After Sun Adults Cosmetics Gel 0 - 5 240Ml</c:v>
                </c:pt>
                <c:pt idx="1">
                  <c:v>Edgewell Hawaiian Tropic Carrot Tanning Adults Cosmetics Crema 10 - 14 240Ml</c:v>
                </c:pt>
                <c:pt idx="2">
                  <c:v>Edgewell Hawaiian Tropic Island Sport Sunscreen Adults Sport Liquido 50 60Ml</c:v>
                </c:pt>
                <c:pt idx="3">
                  <c:v>Edgewell Hawaiian Tropic Other Sunscreen Adults Cosmetics Crema 50+ 240Ml</c:v>
                </c:pt>
                <c:pt idx="4">
                  <c:v>Edgewell Hawaiian Tropic Ozono Sunscreen Adults Cosmetics Liquido 50+ 120Ml</c:v>
                </c:pt>
                <c:pt idx="5">
                  <c:v>Edgewell Hawaiian Tropic Ozono Sunscreen Adults Cosmetics Liquido 50+ 180Ml</c:v>
                </c:pt>
                <c:pt idx="6">
                  <c:v>Edgewell Hawaiian Tropic Ozono Sunscreen Adults Cosmetics Liquido 50+ 240Ml</c:v>
                </c:pt>
                <c:pt idx="7">
                  <c:v>Edgewell Hawaiian Tropic Ozono Sunscreen Adults Cosmetics Liquido 50+ 90Ml</c:v>
                </c:pt>
                <c:pt idx="8">
                  <c:v>Edgewell Hawaiian Tropic Ozono Sunscreen Adults Cosmetics Spray Liquido 50+ 180Ml</c:v>
                </c:pt>
                <c:pt idx="9">
                  <c:v>Edgewell Hawaiian Tropic Sheer Touch Sunscreen Adults Cosmetics Crema 30 - 49 240Ml</c:v>
                </c:pt>
                <c:pt idx="10">
                  <c:v>Edgewell Hawaiian Tropic Sheer Touch Sunscreen Adults Cosmetics Crema 50 120Ml</c:v>
                </c:pt>
                <c:pt idx="11">
                  <c:v>Edgewell Hawaiian Tropic Sheer Touch Sunscreen Adults Cosmetics Liquido 30 - 49 60Ml</c:v>
                </c:pt>
                <c:pt idx="12">
                  <c:v>Edgewell Hawaiian Tropic Tanning Sunscreen Adults Cosmetics Spray Liquido 15 - 19 220Ml</c:v>
                </c:pt>
              </c:strCache>
            </c:strRef>
          </c:cat>
          <c:val>
            <c:numRef>
              <c:f>Sheet1!$B$2:$B$14</c:f>
              <c:numCache>
                <c:formatCode>General</c:formatCode>
                <c:ptCount val="13"/>
                <c:pt idx="0">
                  <c:v>299.0</c:v>
                </c:pt>
                <c:pt idx="1">
                  <c:v>299.0</c:v>
                </c:pt>
                <c:pt idx="2">
                  <c:v>105.0</c:v>
                </c:pt>
                <c:pt idx="3">
                  <c:v>350.0</c:v>
                </c:pt>
                <c:pt idx="4">
                  <c:v>205.0</c:v>
                </c:pt>
                <c:pt idx="5">
                  <c:v>350.0</c:v>
                </c:pt>
                <c:pt idx="6">
                  <c:v>350.0</c:v>
                </c:pt>
                <c:pt idx="7">
                  <c:v>125.0</c:v>
                </c:pt>
                <c:pt idx="8">
                  <c:v>385.0</c:v>
                </c:pt>
                <c:pt idx="9">
                  <c:v>299.0</c:v>
                </c:pt>
                <c:pt idx="10">
                  <c:v>205.0</c:v>
                </c:pt>
                <c:pt idx="11">
                  <c:v>105.0</c:v>
                </c:pt>
                <c:pt idx="1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24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Sheer Touch Sunscreen Adults Cosmetics Crema 50 120Ml</c:v>
                </c:pt>
                <c:pt idx="8">
                  <c:v>Edgewell Hawaiian Tropic Sheer Touch Sunscreen Adults Cosmetics Liquido 30 - 49 60Ml</c:v>
                </c:pt>
              </c:strCache>
            </c:strRef>
          </c:cat>
          <c:val>
            <c:numRef>
              <c:f>Sheet1!$B$2:$B$10</c:f>
              <c:numCache>
                <c:formatCode>General</c:formatCode>
                <c:ptCount val="9"/>
                <c:pt idx="0">
                  <c:v>105.0</c:v>
                </c:pt>
                <c:pt idx="1">
                  <c:v>350.0</c:v>
                </c:pt>
                <c:pt idx="2">
                  <c:v>205.0</c:v>
                </c:pt>
                <c:pt idx="3">
                  <c:v>350.0</c:v>
                </c:pt>
                <c:pt idx="4">
                  <c:v>125.0</c:v>
                </c:pt>
                <c:pt idx="5">
                  <c:v>385.0</c:v>
                </c:pt>
                <c:pt idx="6">
                  <c:v>299.0</c:v>
                </c:pt>
                <c:pt idx="7">
                  <c:v>205.0</c:v>
                </c:pt>
                <c:pt idx="8">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Crema 50+ 180Ml</c:v>
                </c:pt>
                <c:pt idx="5">
                  <c:v>Edgewell Banana Boat Dry Balance Sunscreen Adults Sport Spray Liquido 50 220Ml</c:v>
                </c:pt>
              </c:strCache>
            </c:strRef>
          </c:cat>
          <c:val>
            <c:numRef>
              <c:f>Sheet1!$B$2:$B$7</c:f>
              <c:numCache>
                <c:formatCode>General</c:formatCode>
                <c:ptCount val="6"/>
                <c:pt idx="0">
                  <c:v>310.0</c:v>
                </c:pt>
                <c:pt idx="1">
                  <c:v>305.0</c:v>
                </c:pt>
                <c:pt idx="2">
                  <c:v>349.0</c:v>
                </c:pt>
                <c:pt idx="3">
                  <c:v>305.0</c:v>
                </c:pt>
                <c:pt idx="4">
                  <c:v>335.0</c:v>
                </c:pt>
                <c:pt idx="5">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7.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7.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249.0</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2.0</a:t>
                    </a:r>
                  </a:p>
                </c:rich>
              </c:tx>
              <c:showLegendKey val="0"/>
              <c:showVal val="1"/>
              <c:showCatName val="0"/>
              <c:showSerName val="0"/>
              <c:showPercent val="0"/>
              <c:showBubbleSize val="0"/>
            </c:dLbl>
            <c:dLbl>
              <c:idx val="9"/>
              <c:tx>
                <c:rich>
                  <a:bodyPr/>
                  <a:lstStyle/>
                  <a:p>
                    <a:r>
                      <a:t>149.0</a:t>
                    </a:r>
                  </a:p>
                </c:rich>
              </c:tx>
              <c:showLegendKey val="0"/>
              <c:showVal val="1"/>
              <c:showCatName val="0"/>
              <c:showSerName val="0"/>
              <c:showPercent val="0"/>
              <c:showBubbleSize val="0"/>
            </c:dLbl>
            <c:dLbl>
              <c:idx val="10"/>
              <c:tx>
                <c:rich>
                  <a:bodyPr/>
                  <a:lstStyle/>
                  <a:p>
                    <a:r>
                      <a:t>129.0</a:t>
                    </a:r>
                  </a:p>
                </c:rich>
              </c:tx>
              <c:showLegendKey val="0"/>
              <c:showVal val="1"/>
              <c:showCatName val="0"/>
              <c:showSerName val="0"/>
              <c:showPercent val="0"/>
              <c:showBubbleSize val="0"/>
            </c:dLbl>
            <c:dLbl>
              <c:idx val="11"/>
              <c:tx>
                <c:rich>
                  <a:bodyPr/>
                  <a:lstStyle/>
                  <a:p>
                    <a:r>
                      <a:t>149.0</a:t>
                    </a:r>
                  </a:p>
                </c:rich>
              </c:tx>
              <c:showLegendKey val="0"/>
              <c:showVal val="1"/>
              <c:showCatName val="0"/>
              <c:showSerName val="0"/>
              <c:showPercent val="0"/>
              <c:showBubbleSize val="0"/>
            </c:dLbl>
            <c:dLbl>
              <c:idx val="12"/>
              <c:tx>
                <c:rich>
                  <a:bodyPr/>
                  <a:lstStyle/>
                  <a:p>
                    <a:r>
                      <a:t>254.33</a:t>
                    </a:r>
                  </a:p>
                </c:rich>
              </c:tx>
              <c:showLegendKey val="0"/>
              <c:showVal val="1"/>
              <c:showCatName val="0"/>
              <c:showSerName val="0"/>
              <c:showPercent val="0"/>
              <c:showBubbleSize val="0"/>
            </c:dLbl>
            <c:dLbl>
              <c:idx val="13"/>
              <c:tx>
                <c:rich>
                  <a:bodyPr/>
                  <a:lstStyle/>
                  <a:p>
                    <a:r>
                      <a:t>319.0</a:t>
                    </a:r>
                  </a:p>
                </c:rich>
              </c:tx>
              <c:showLegendKey val="0"/>
              <c:showVal val="1"/>
              <c:showCatName val="0"/>
              <c:showSerName val="0"/>
              <c:showPercent val="0"/>
              <c:showBubbleSize val="0"/>
            </c:dLbl>
            <c:dLbl>
              <c:idx val="14"/>
              <c:tx>
                <c:rich>
                  <a:bodyPr/>
                  <a:lstStyle/>
                  <a:p>
                    <a:r>
                      <a:t>220.0</a:t>
                    </a:r>
                  </a:p>
                </c:rich>
              </c:tx>
              <c:showLegendKey val="0"/>
              <c:showVal val="1"/>
              <c:showCatName val="0"/>
              <c:showSerName val="0"/>
              <c:showPercent val="0"/>
              <c:showBubbleSize val="0"/>
            </c:dLbl>
            <c:dLbl>
              <c:idx val="15"/>
              <c:tx>
                <c:rich>
                  <a:bodyPr/>
                  <a:lstStyle/>
                  <a:p>
                    <a:r>
                      <a:t>286.0</a:t>
                    </a:r>
                  </a:p>
                </c:rich>
              </c:tx>
              <c:showLegendKey val="0"/>
              <c:showVal val="1"/>
              <c:showCatName val="0"/>
              <c:showSerName val="0"/>
              <c:showPercent val="0"/>
              <c:showBubbleSize val="0"/>
            </c:dLbl>
            <c:dLbl>
              <c:idx val="16"/>
              <c:tx>
                <c:rich>
                  <a:bodyPr/>
                  <a:lstStyle/>
                  <a:p>
                    <a:r>
                      <a:t>311.0</a:t>
                    </a:r>
                  </a:p>
                </c:rich>
              </c:tx>
              <c:showLegendKey val="0"/>
              <c:showVal val="1"/>
              <c:showCatName val="0"/>
              <c:showSerName val="0"/>
              <c:showPercent val="0"/>
              <c:showBubbleSize val="0"/>
            </c:dLbl>
            <c:dLbl>
              <c:idx val="17"/>
              <c:tx>
                <c:rich>
                  <a:bodyPr/>
                  <a:lstStyle/>
                  <a:p>
                    <a:r>
                      <a:t>423.9</a:t>
                    </a:r>
                  </a:p>
                </c:rich>
              </c:tx>
              <c:showLegendKey val="0"/>
              <c:showVal val="1"/>
              <c:showCatName val="0"/>
              <c:showSerName val="0"/>
              <c:showPercent val="0"/>
              <c:showBubbleSize val="0"/>
            </c:dLbl>
            <c:dLbl>
              <c:idx val="18"/>
              <c:tx>
                <c:rich>
                  <a:bodyPr/>
                  <a:lstStyle/>
                  <a:p>
                    <a:r>
                      <a:t>278.0</a:t>
                    </a:r>
                  </a:p>
                </c:rich>
              </c:tx>
              <c:showLegendKey val="0"/>
              <c:showVal val="1"/>
              <c:showCatName val="0"/>
              <c:showSerName val="0"/>
              <c:showPercent val="0"/>
              <c:showBubbleSize val="0"/>
            </c:dLbl>
            <c:dLbl>
              <c:idx val="19"/>
              <c:tx>
                <c:rich>
                  <a:bodyPr/>
                  <a:lstStyle/>
                  <a:p>
                    <a:r>
                      <a:t>393.9</a:t>
                    </a:r>
                  </a:p>
                </c:rich>
              </c:tx>
              <c:showLegendKey val="0"/>
              <c:showVal val="1"/>
              <c:showCatName val="0"/>
              <c:showSerName val="0"/>
              <c:showPercent val="0"/>
              <c:showBubbleSize val="0"/>
            </c:dLbl>
            <c:dLbl>
              <c:idx val="20"/>
              <c:tx>
                <c:rich>
                  <a:bodyPr/>
                  <a:lstStyle/>
                  <a:p>
                    <a:r>
                      <a:t>188.0</a:t>
                    </a:r>
                  </a:p>
                </c:rich>
              </c:tx>
              <c:showLegendKey val="0"/>
              <c:showVal val="1"/>
              <c:showCatName val="0"/>
              <c:showSerName val="0"/>
              <c:showPercent val="0"/>
              <c:showBubbleSize val="0"/>
            </c:dLbl>
            <c:dLbl>
              <c:idx val="21"/>
              <c:tx>
                <c:rich>
                  <a:bodyPr/>
                  <a:lstStyle/>
                  <a:p>
                    <a:r>
                      <a:t>326.0</a:t>
                    </a:r>
                  </a:p>
                </c:rich>
              </c:tx>
              <c:showLegendKey val="0"/>
              <c:showVal val="1"/>
              <c:showCatName val="0"/>
              <c:showSerName val="0"/>
              <c:showPercent val="0"/>
              <c:showBubbleSize val="0"/>
            </c:dLbl>
            <c:dLbl>
              <c:idx val="22"/>
              <c:tx>
                <c:rich>
                  <a:bodyPr/>
                  <a:lstStyle/>
                  <a:p>
                    <a:r>
                      <a:t>349.0</a:t>
                    </a:r>
                  </a:p>
                </c:rich>
              </c:tx>
              <c:showLegendKey val="0"/>
              <c:showVal val="1"/>
              <c:showCatName val="0"/>
              <c:showSerName val="0"/>
              <c:showPercent val="0"/>
              <c:showBubbleSize val="0"/>
            </c:dLbl>
            <c:dLbl>
              <c:idx val="23"/>
              <c:tx>
                <c:rich>
                  <a:bodyPr/>
                  <a:lstStyle/>
                  <a:p>
                    <a:r>
                      <a:t>310.0</a:t>
                    </a:r>
                  </a:p>
                </c:rich>
              </c:tx>
              <c:showLegendKey val="0"/>
              <c:showVal val="1"/>
              <c:showCatName val="0"/>
              <c:showSerName val="0"/>
              <c:showPercent val="0"/>
              <c:showBubbleSize val="0"/>
            </c:dLbl>
            <c:dLbl>
              <c:idx val="24"/>
              <c:tx>
                <c:rich>
                  <a:bodyPr/>
                  <a:lstStyle/>
                  <a:p>
                    <a:r>
                      <a:t>365.0</a:t>
                    </a:r>
                  </a:p>
                </c:rich>
              </c:tx>
              <c:showLegendKey val="0"/>
              <c:showVal val="1"/>
              <c:showCatName val="0"/>
              <c:showSerName val="0"/>
              <c:showPercent val="0"/>
              <c:showBubbleSize val="0"/>
            </c:dLbl>
            <c:dLbl>
              <c:idx val="25"/>
              <c:tx>
                <c:rich>
                  <a:bodyPr/>
                  <a:lstStyle/>
                  <a:p>
                    <a:r>
                      <a:t>175.0</a:t>
                    </a:r>
                  </a:p>
                </c:rich>
              </c:tx>
              <c:showLegendKey val="0"/>
              <c:showVal val="1"/>
              <c:showCatName val="0"/>
              <c:showSerName val="0"/>
              <c:showPercent val="0"/>
              <c:showBubbleSize val="0"/>
            </c:dLbl>
            <c:dLbl>
              <c:idx val="26"/>
              <c:tx>
                <c:rich>
                  <a:bodyPr/>
                  <a:lstStyle/>
                  <a:p>
                    <a:r>
                      <a:t>314.0</a:t>
                    </a:r>
                  </a:p>
                </c:rich>
              </c:tx>
              <c:showLegendKey val="0"/>
              <c:showVal val="1"/>
              <c:showCatName val="0"/>
              <c:showSerName val="0"/>
              <c:showPercent val="0"/>
              <c:showBubbleSize val="0"/>
            </c:dLbl>
            <c:dLbl>
              <c:idx val="27"/>
              <c:tx>
                <c:rich>
                  <a:bodyPr/>
                  <a:lstStyle/>
                  <a:p>
                    <a:r>
                      <a:t>2165.0</a:t>
                    </a:r>
                  </a:p>
                </c:rich>
              </c:tx>
              <c:showLegendKey val="0"/>
              <c:showVal val="1"/>
              <c:showCatName val="0"/>
              <c:showSerName val="0"/>
              <c:showPercent val="0"/>
              <c:showBubbleSize val="0"/>
            </c:dLbl>
            <c:dLbl>
              <c:idx val="28"/>
              <c:tx>
                <c:rich>
                  <a:bodyPr/>
                  <a:lstStyle/>
                  <a:p>
                    <a:r>
                      <a:t>216.0</a:t>
                    </a:r>
                  </a:p>
                </c:rich>
              </c:tx>
              <c:showLegendKey val="0"/>
              <c:showVal val="1"/>
              <c:showCatName val="0"/>
              <c:showSerName val="0"/>
              <c:showPercent val="0"/>
              <c:showBubbleSize val="0"/>
            </c:dLbl>
            <c:dLbl>
              <c:idx val="29"/>
              <c:tx>
                <c:rich>
                  <a:bodyPr/>
                  <a:lstStyle/>
                  <a:p>
                    <a:r>
                      <a:t>265.0</a:t>
                    </a:r>
                  </a:p>
                </c:rich>
              </c:tx>
              <c:showLegendKey val="0"/>
              <c:showVal val="1"/>
              <c:showCatName val="0"/>
              <c:showSerName val="0"/>
              <c:showPercent val="0"/>
              <c:showBubbleSize val="0"/>
            </c:dLbl>
            <c:dLbl>
              <c:idx val="30"/>
              <c:tx>
                <c:rich>
                  <a:bodyPr/>
                  <a:lstStyle/>
                  <a:p>
                    <a:r>
                      <a:t>329.0</a:t>
                    </a:r>
                  </a:p>
                </c:rich>
              </c:tx>
              <c:showLegendKey val="0"/>
              <c:showVal val="1"/>
              <c:showCatName val="0"/>
              <c:showSerName val="0"/>
              <c:showPercent val="0"/>
              <c:showBubbleSize val="0"/>
            </c:dLbl>
            <c:dLbl>
              <c:idx val="31"/>
              <c:tx>
                <c:rich>
                  <a:bodyPr/>
                  <a:lstStyle/>
                  <a:p>
                    <a:r>
                      <a:t>779.0</a:t>
                    </a:r>
                  </a:p>
                </c:rich>
              </c:tx>
              <c:showLegendKey val="0"/>
              <c:showVal val="1"/>
              <c:showCatName val="0"/>
              <c:showSerName val="0"/>
              <c:showPercent val="0"/>
              <c:showBubbleSize val="0"/>
            </c:dLbl>
            <c:dLbl>
              <c:idx val="32"/>
              <c:tx>
                <c:rich>
                  <a:bodyPr/>
                  <a:lstStyle/>
                  <a:p>
                    <a:r>
                      <a:t>329.0</a:t>
                    </a:r>
                  </a:p>
                </c:rich>
              </c:tx>
              <c:showLegendKey val="0"/>
              <c:showVal val="1"/>
              <c:showCatName val="0"/>
              <c:showSerName val="0"/>
              <c:showPercent val="0"/>
              <c:showBubbleSize val="0"/>
            </c:dLbl>
            <c:dLbl>
              <c:idx val="33"/>
              <c:tx>
                <c:rich>
                  <a:bodyPr/>
                  <a:lstStyle/>
                  <a:p>
                    <a:r>
                      <a:t>426.0</a:t>
                    </a:r>
                  </a:p>
                </c:rich>
              </c:tx>
              <c:showLegendKey val="0"/>
              <c:showVal val="1"/>
              <c:showCatName val="0"/>
              <c:showSerName val="0"/>
              <c:showPercent val="0"/>
              <c:showBubbleSize val="0"/>
            </c:dLbl>
            <c:dLbl>
              <c:idx val="34"/>
              <c:tx>
                <c:rich>
                  <a:bodyPr/>
                  <a:lstStyle/>
                  <a:p>
                    <a:r>
                      <a:t>399.0</a:t>
                    </a:r>
                  </a:p>
                </c:rich>
              </c:tx>
              <c:showLegendKey val="0"/>
              <c:showVal val="1"/>
              <c:showCatName val="0"/>
              <c:showSerName val="0"/>
              <c:showPercent val="0"/>
              <c:showBubbleSize val="0"/>
            </c:dLbl>
            <c:dLbl>
              <c:idx val="35"/>
              <c:tx>
                <c:rich>
                  <a:bodyPr/>
                  <a:lstStyle/>
                  <a:p>
                    <a:r>
                      <a:t>19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7</c:f>
              <c:strCache>
                <c:ptCount val="36"/>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Dry Balance Sunscreen Adults Cosmetics Spray Crema 50+ 220Ml</c:v>
                </c:pt>
                <c:pt idx="6">
                  <c:v>Edgewell Banana Boat Kids Sport Sunscreen Kids Cosmetics Crema 50 180Ml</c:v>
                </c:pt>
                <c:pt idx="7">
                  <c:v>Edgewell Banana Boat Mineral Sunscreen Adults Cosmetics Locion 50 60Ml</c:v>
                </c:pt>
                <c:pt idx="8">
                  <c:v>Edgewell Banana Boat Mineral Sunscreen Kids Cosmetics Locion 50 180Ml</c:v>
                </c:pt>
                <c:pt idx="9">
                  <c:v>Total Care De Mexico Caribbean Beach Sunscreen Adults Cosmetics Crema 50+ 250Ml</c:v>
                </c:pt>
                <c:pt idx="10">
                  <c:v>Total Care De Mexico Caribbean Beach Sunscreen Adults Cosmetics Crema 50+ 85Ml</c:v>
                </c:pt>
                <c:pt idx="11">
                  <c:v>Total Care De Mexico Caribbean Beach Sunscreen Kids Cosmetics Crema 50+ 250Ml</c:v>
                </c:pt>
                <c:pt idx="12">
                  <c:v>Beiersdorf Nivea Sunscreen Adults Cosmetics Crema 50 50Ml</c:v>
                </c:pt>
                <c:pt idx="13">
                  <c:v>Beiersdorf Nivea Sunscreen Adults Cosmetics Crema 50+ 200Ml</c:v>
                </c:pt>
                <c:pt idx="14">
                  <c:v>Beiersdorf Nivea Sunscreen Adults Cosmetics Crema 50+ 40Ml</c:v>
                </c:pt>
                <c:pt idx="15">
                  <c:v>Beiersdorf Nivea Sunscreen Adults Cosmetics Crema 50+ 50Ml</c:v>
                </c:pt>
                <c:pt idx="16">
                  <c:v>Beiersdorf Nivea Sunscreen Adults Cosmetics Fluido 50+ 40Ml</c:v>
                </c:pt>
                <c:pt idx="17">
                  <c:v>Beiersdorf Nivea Sunscreen Adults Cosmetics Gel 50+ 200Ml</c:v>
                </c:pt>
                <c:pt idx="18">
                  <c:v>Beiersdorf Nivea Sunscreen Adults Cosmetics Liquido 30 - 49 200Ml</c:v>
                </c:pt>
                <c:pt idx="19">
                  <c:v>Beiersdorf Nivea Sunscreen Adults Cosmetics Liquido 50 200Ml</c:v>
                </c:pt>
                <c:pt idx="20">
                  <c:v>Beiersdorf Nivea Sunscreen Adults Cosmetics Liquido 50+ 125Ml</c:v>
                </c:pt>
                <c:pt idx="21">
                  <c:v>Beiersdorf Nivea Sunscreen Adults Cosmetics Spray Liquido 50 200Ml</c:v>
                </c:pt>
                <c:pt idx="22">
                  <c:v>Beiersdorf Nivea Sunscreen Kids Cosmetics Gel 50+ 150Ml</c:v>
                </c:pt>
                <c:pt idx="23">
                  <c:v>Beiersdorf Nivea Sunscreen Kids Cosmetics Liquido 50+ 200Ml</c:v>
                </c:pt>
                <c:pt idx="24">
                  <c:v>Beiersdorf Nivea Sunscreen Kids Cosmetics Spray Liquido 50+ 200Ml</c:v>
                </c:pt>
                <c:pt idx="25">
                  <c:v>Others Fabricante Unif. Others Marca Unif. Sunscreen Adults Cosmetics Crema 50+ 40Ml</c:v>
                </c:pt>
                <c:pt idx="26">
                  <c:v>Others Fabricante Unif. Others Marca Unif. Sunscreen Adults Cosmetics Crema 50+ 50Ml</c:v>
                </c:pt>
                <c:pt idx="27">
                  <c:v>Others Fabricante Unif. Others Marca Unif. Sunscreen Adults Cosmetics Crema 50+ 55Ml</c:v>
                </c:pt>
                <c:pt idx="28">
                  <c:v>Others Fabricante Unif. Others Marca Unif. Sunscreen Adults Cosmetics Fluido 50+ 45Ml</c:v>
                </c:pt>
                <c:pt idx="29">
                  <c:v>Others Fabricante Unif. Others Marca Unif. Sunscreen Adults Cosmetics Liquido 30 50Ml</c:v>
                </c:pt>
                <c:pt idx="30">
                  <c:v>Others Fabricante Unif. Others Marca Unif. Sunscreen Adults Cosmetics Spray Aerosol 50 30Ml</c:v>
                </c:pt>
                <c:pt idx="31">
                  <c:v>Others Fabricante Unif. Others Marca Unif. Sunscreen Adults Cosmetics Stick 30 - 49 30Ml</c:v>
                </c:pt>
                <c:pt idx="32">
                  <c:v>Others Fabricante Unif. Others Marca Unif. Sunscreen Adults Cosmetics Stick 50 15Ml</c:v>
                </c:pt>
                <c:pt idx="33">
                  <c:v>Others Fabricante Unif. Others Marca Unif. Sunscreen Adults Cosmetics Stick 50+ 15Ml</c:v>
                </c:pt>
                <c:pt idx="34">
                  <c:v>Others Fabricante Unif. Others Marca Unif. Sunscreen Adults Cosmetics Stick 50+ 19Ml</c:v>
                </c:pt>
                <c:pt idx="35">
                  <c:v>Others Fabricante Unif. Others Marca Unif. Sunscreen Kids Cosmetics Crema 50 165Ml</c:v>
                </c:pt>
              </c:strCache>
            </c:strRef>
          </c:cat>
          <c:val>
            <c:numRef>
              <c:f>Sheet1!$B$2:$B$37</c:f>
              <c:numCache>
                <c:formatCode>General</c:formatCode>
                <c:ptCount val="36"/>
                <c:pt idx="0">
                  <c:v>310.0</c:v>
                </c:pt>
                <c:pt idx="1">
                  <c:v>305.0</c:v>
                </c:pt>
                <c:pt idx="2">
                  <c:v>349.0</c:v>
                </c:pt>
                <c:pt idx="3">
                  <c:v>367.5</c:v>
                </c:pt>
                <c:pt idx="4">
                  <c:v>305.0</c:v>
                </c:pt>
                <c:pt idx="5">
                  <c:v>249.0</c:v>
                </c:pt>
                <c:pt idx="6">
                  <c:v>305.0</c:v>
                </c:pt>
                <c:pt idx="7">
                  <c:v>310.0</c:v>
                </c:pt>
                <c:pt idx="8">
                  <c:v>242.0</c:v>
                </c:pt>
                <c:pt idx="9">
                  <c:v>149.0</c:v>
                </c:pt>
                <c:pt idx="10">
                  <c:v>129.0</c:v>
                </c:pt>
                <c:pt idx="11">
                  <c:v>149.0</c:v>
                </c:pt>
                <c:pt idx="12">
                  <c:v>254.33</c:v>
                </c:pt>
                <c:pt idx="13">
                  <c:v>319.0</c:v>
                </c:pt>
                <c:pt idx="14">
                  <c:v>220.0</c:v>
                </c:pt>
                <c:pt idx="15">
                  <c:v>286.0</c:v>
                </c:pt>
                <c:pt idx="16">
                  <c:v>311.0</c:v>
                </c:pt>
                <c:pt idx="17">
                  <c:v>423.9</c:v>
                </c:pt>
                <c:pt idx="18">
                  <c:v>278.0</c:v>
                </c:pt>
                <c:pt idx="19">
                  <c:v>393.9</c:v>
                </c:pt>
                <c:pt idx="20">
                  <c:v>188.0</c:v>
                </c:pt>
                <c:pt idx="21">
                  <c:v>326.0</c:v>
                </c:pt>
                <c:pt idx="22">
                  <c:v>349.0</c:v>
                </c:pt>
                <c:pt idx="23">
                  <c:v>310.0</c:v>
                </c:pt>
                <c:pt idx="24">
                  <c:v>365.0</c:v>
                </c:pt>
                <c:pt idx="25">
                  <c:v>175.0</c:v>
                </c:pt>
                <c:pt idx="26">
                  <c:v>314.0</c:v>
                </c:pt>
                <c:pt idx="27">
                  <c:v>2165.0</c:v>
                </c:pt>
                <c:pt idx="28">
                  <c:v>216.0</c:v>
                </c:pt>
                <c:pt idx="29">
                  <c:v>265.0</c:v>
                </c:pt>
                <c:pt idx="30">
                  <c:v>329.0</c:v>
                </c:pt>
                <c:pt idx="31">
                  <c:v>779.0</c:v>
                </c:pt>
                <c:pt idx="32">
                  <c:v>329.0</c:v>
                </c:pt>
                <c:pt idx="33">
                  <c:v>426.0</c:v>
                </c:pt>
                <c:pt idx="34">
                  <c:v>399.0</c:v>
                </c:pt>
                <c:pt idx="35">
                  <c:v>19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1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Island Sport Sunscreen Adults Sport Liquido 50 60Ml</c:v>
                </c:pt>
                <c:pt idx="1">
                  <c:v>Total Care De Mexico Caribbean Beach Sunscreen Adults Sport Crema 50+ 250Ml</c:v>
                </c:pt>
              </c:strCache>
            </c:strRef>
          </c:cat>
          <c:val>
            <c:numRef>
              <c:f>Sheet1!$B$2:$B$3</c:f>
              <c:numCache>
                <c:formatCode>General</c:formatCode>
                <c:ptCount val="2"/>
                <c:pt idx="0">
                  <c:v>105.0</c:v>
                </c:pt>
                <c:pt idx="1">
                  <c:v>1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dLbl>
              <c:idx val="5"/>
              <c:tx>
                <c:rich>
                  <a:bodyPr/>
                  <a:lstStyle/>
                  <a:p>
                    <a:r>
                      <a:t>1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pt idx="5">
                  <c:v>Total Care De Mexico Caribbean Beach Sunscreen Adults Sport Crema 50+ 250Ml</c:v>
                </c:pt>
              </c:strCache>
            </c:strRef>
          </c:cat>
          <c:val>
            <c:numRef>
              <c:f>Sheet1!$B$2:$B$7</c:f>
              <c:numCache>
                <c:formatCode>General</c:formatCode>
                <c:ptCount val="6"/>
                <c:pt idx="0">
                  <c:v>305.0</c:v>
                </c:pt>
                <c:pt idx="1">
                  <c:v>335.0</c:v>
                </c:pt>
                <c:pt idx="2">
                  <c:v>385.0</c:v>
                </c:pt>
                <c:pt idx="3">
                  <c:v>249.0</c:v>
                </c:pt>
                <c:pt idx="4">
                  <c:v>215.0</c:v>
                </c:pt>
                <c:pt idx="5">
                  <c:v>1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dLbl>
              <c:idx val="9"/>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Other Sunscreen Adults Cosmetics Crema 50+ 24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Sheer Touch Sunscreen Adults Cosmetics Crema 50 120Ml</c:v>
                </c:pt>
                <c:pt idx="8">
                  <c:v>Edgewell Hawaiian Tropic Sheer Touch Sunscreen Adults Cosmetics Liquido 30 - 49 60Ml</c:v>
                </c:pt>
                <c:pt idx="9">
                  <c:v>Edgewell Hawaiian Tropic Tanning Sunscreen Adults Cosmetics Spray Liquido 15 - 19 220Ml</c:v>
                </c:pt>
              </c:strCache>
            </c:strRef>
          </c:cat>
          <c:val>
            <c:numRef>
              <c:f>Sheet1!$B$2:$B$11</c:f>
              <c:numCache>
                <c:formatCode>General</c:formatCode>
                <c:ptCount val="10"/>
                <c:pt idx="0">
                  <c:v>350.0</c:v>
                </c:pt>
                <c:pt idx="1">
                  <c:v>205.0</c:v>
                </c:pt>
                <c:pt idx="2">
                  <c:v>350.0</c:v>
                </c:pt>
                <c:pt idx="3">
                  <c:v>350.0</c:v>
                </c:pt>
                <c:pt idx="4">
                  <c:v>125.0</c:v>
                </c:pt>
                <c:pt idx="5">
                  <c:v>385.0</c:v>
                </c:pt>
                <c:pt idx="6">
                  <c:v>299.0</c:v>
                </c:pt>
                <c:pt idx="7">
                  <c:v>205.0</c:v>
                </c:pt>
                <c:pt idx="8">
                  <c:v>105.0</c:v>
                </c:pt>
                <c:pt idx="9">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7.5</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335.0</a:t>
                    </a:r>
                  </a:p>
                </c:rich>
              </c:tx>
              <c:showLegendKey val="0"/>
              <c:showVal val="1"/>
              <c:showCatName val="0"/>
              <c:showSerName val="0"/>
              <c:showPercent val="0"/>
              <c:showBubbleSize val="0"/>
            </c:dLbl>
            <c:dLbl>
              <c:idx val="9"/>
              <c:tx>
                <c:rich>
                  <a:bodyPr/>
                  <a:lstStyle/>
                  <a:p>
                    <a:r>
                      <a:t>385.0</a:t>
                    </a:r>
                  </a:p>
                </c:rich>
              </c:tx>
              <c:showLegendKey val="0"/>
              <c:showVal val="1"/>
              <c:showCatName val="0"/>
              <c:showSerName val="0"/>
              <c:showPercent val="0"/>
              <c:showBubbleSize val="0"/>
            </c:dLbl>
            <c:dLbl>
              <c:idx val="10"/>
              <c:tx>
                <c:rich>
                  <a:bodyPr/>
                  <a:lstStyle/>
                  <a:p>
                    <a:r>
                      <a:t>305.0</a:t>
                    </a:r>
                  </a:p>
                </c:rich>
              </c:tx>
              <c:showLegendKey val="0"/>
              <c:showVal val="1"/>
              <c:showCatName val="0"/>
              <c:showSerName val="0"/>
              <c:showPercent val="0"/>
              <c:showBubbleSize val="0"/>
            </c:dLbl>
            <c:dLbl>
              <c:idx val="11"/>
              <c:tx>
                <c:rich>
                  <a:bodyPr/>
                  <a:lstStyle/>
                  <a:p>
                    <a:r>
                      <a:t>310.0</a:t>
                    </a:r>
                  </a:p>
                </c:rich>
              </c:tx>
              <c:showLegendKey val="0"/>
              <c:showVal val="1"/>
              <c:showCatName val="0"/>
              <c:showSerName val="0"/>
              <c:showPercent val="0"/>
              <c:showBubbleSize val="0"/>
            </c:dLbl>
            <c:dLbl>
              <c:idx val="12"/>
              <c:tx>
                <c:rich>
                  <a:bodyPr/>
                  <a:lstStyle/>
                  <a:p>
                    <a:r>
                      <a:t>249.0</a:t>
                    </a:r>
                  </a:p>
                </c:rich>
              </c:tx>
              <c:showLegendKey val="0"/>
              <c:showVal val="1"/>
              <c:showCatName val="0"/>
              <c:showSerName val="0"/>
              <c:showPercent val="0"/>
              <c:showBubbleSize val="0"/>
            </c:dLbl>
            <c:dLbl>
              <c:idx val="13"/>
              <c:tx>
                <c:rich>
                  <a:bodyPr/>
                  <a:lstStyle/>
                  <a:p>
                    <a:r>
                      <a:t>242.0</a:t>
                    </a:r>
                  </a:p>
                </c:rich>
              </c:tx>
              <c:showLegendKey val="0"/>
              <c:showVal val="1"/>
              <c:showCatName val="0"/>
              <c:showSerName val="0"/>
              <c:showPercent val="0"/>
              <c:showBubbleSize val="0"/>
            </c:dLbl>
            <c:dLbl>
              <c:idx val="14"/>
              <c:tx>
                <c:rich>
                  <a:bodyPr/>
                  <a:lstStyle/>
                  <a:p>
                    <a:r>
                      <a:t>279.0</a:t>
                    </a:r>
                  </a:p>
                </c:rich>
              </c:tx>
              <c:showLegendKey val="0"/>
              <c:showVal val="1"/>
              <c:showCatName val="0"/>
              <c:showSerName val="0"/>
              <c:showPercent val="0"/>
              <c:showBubbleSize val="0"/>
            </c:dLbl>
            <c:dLbl>
              <c:idx val="15"/>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Cosmetics Spray Crema 50+ 220Ml</c:v>
                </c:pt>
                <c:pt idx="8">
                  <c:v>Edgewell Banana Boat Dry Balance Sunscreen Adults Sport Crema 50+ 180Ml</c:v>
                </c:pt>
                <c:pt idx="9">
                  <c:v>Edgewell Banana Boat Dry Balance Sunscreen Adults Sport Spray Liquido 50 220Ml</c:v>
                </c:pt>
                <c:pt idx="10">
                  <c:v>Edgewell Banana Boat Kids Sport Sunscreen Kids Cosmetics Crema 50 180Ml</c:v>
                </c:pt>
                <c:pt idx="11">
                  <c:v>Edgewell Banana Boat Mineral Sunscreen Adults Cosmetics Locion 50 60Ml</c:v>
                </c:pt>
                <c:pt idx="12">
                  <c:v>Edgewell Banana Boat Mineral Sunscreen Adults Sport Locion 50 180Ml</c:v>
                </c:pt>
                <c:pt idx="13">
                  <c:v>Edgewell Banana Boat Mineral Sunscreen Kids Cosmetics Locion 50 180Ml</c:v>
                </c:pt>
                <c:pt idx="14">
                  <c:v>Edgewell Banana Boat Tanning Tanning Adults Cosmetics Spray Aceite 0 - 5 237Ml</c:v>
                </c:pt>
                <c:pt idx="15">
                  <c:v>Edgewell Banana Boat Ultra Sunscreen Adults Sport Roll-On 60+ 75Ml</c:v>
                </c:pt>
              </c:strCache>
            </c:strRef>
          </c:cat>
          <c:val>
            <c:numRef>
              <c:f>Sheet1!$B$2:$B$17</c:f>
              <c:numCache>
                <c:formatCode>General</c:formatCode>
                <c:ptCount val="16"/>
                <c:pt idx="0">
                  <c:v>310.0</c:v>
                </c:pt>
                <c:pt idx="1">
                  <c:v>105.0</c:v>
                </c:pt>
                <c:pt idx="2">
                  <c:v>305.0</c:v>
                </c:pt>
                <c:pt idx="3">
                  <c:v>349.0</c:v>
                </c:pt>
                <c:pt idx="4">
                  <c:v>305.0</c:v>
                </c:pt>
                <c:pt idx="5">
                  <c:v>367.5</c:v>
                </c:pt>
                <c:pt idx="6">
                  <c:v>305.0</c:v>
                </c:pt>
                <c:pt idx="7">
                  <c:v>249.0</c:v>
                </c:pt>
                <c:pt idx="8">
                  <c:v>335.0</c:v>
                </c:pt>
                <c:pt idx="9">
                  <c:v>385.0</c:v>
                </c:pt>
                <c:pt idx="10">
                  <c:v>305.0</c:v>
                </c:pt>
                <c:pt idx="11">
                  <c:v>310.0</c:v>
                </c:pt>
                <c:pt idx="12">
                  <c:v>249.0</c:v>
                </c:pt>
                <c:pt idx="13">
                  <c:v>242.0</c:v>
                </c:pt>
                <c:pt idx="14">
                  <c:v>279.0</c:v>
                </c:pt>
                <c:pt idx="15">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Liquido 50 6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strCache>
            </c:strRef>
          </c:cat>
          <c:val>
            <c:numRef>
              <c:f>Sheet1!$B$2:$B$6</c:f>
              <c:numCache>
                <c:formatCode>General</c:formatCode>
                <c:ptCount val="5"/>
                <c:pt idx="0">
                  <c:v>305.0</c:v>
                </c:pt>
                <c:pt idx="1">
                  <c:v>335.0</c:v>
                </c:pt>
                <c:pt idx="2">
                  <c:v>385.0</c:v>
                </c:pt>
                <c:pt idx="3">
                  <c:v>249.0</c:v>
                </c:pt>
                <c:pt idx="4">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dLbl>
              <c:idx val="9"/>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Other Sunscreen Adults Cosmetics Crema 50+ 24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Sheer Touch Sunscreen Adults Cosmetics Crema 50 120Ml</c:v>
                </c:pt>
                <c:pt idx="8">
                  <c:v>Edgewell Hawaiian Tropic Sheer Touch Sunscreen Adults Cosmetics Liquido 30 - 49 60Ml</c:v>
                </c:pt>
                <c:pt idx="9">
                  <c:v>Edgewell Hawaiian Tropic Tanning Sunscreen Adults Cosmetics Spray Liquido 15 - 19 220Ml</c:v>
                </c:pt>
              </c:strCache>
            </c:strRef>
          </c:cat>
          <c:val>
            <c:numRef>
              <c:f>Sheet1!$B$2:$B$11</c:f>
              <c:numCache>
                <c:formatCode>General</c:formatCode>
                <c:ptCount val="10"/>
                <c:pt idx="0">
                  <c:v>350.0</c:v>
                </c:pt>
                <c:pt idx="1">
                  <c:v>205.0</c:v>
                </c:pt>
                <c:pt idx="2">
                  <c:v>350.0</c:v>
                </c:pt>
                <c:pt idx="3">
                  <c:v>350.0</c:v>
                </c:pt>
                <c:pt idx="4">
                  <c:v>125.0</c:v>
                </c:pt>
                <c:pt idx="5">
                  <c:v>385.0</c:v>
                </c:pt>
                <c:pt idx="6">
                  <c:v>299.0</c:v>
                </c:pt>
                <c:pt idx="7">
                  <c:v>205.0</c:v>
                </c:pt>
                <c:pt idx="8">
                  <c:v>105.0</c:v>
                </c:pt>
                <c:pt idx="9">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strCache>
            </c:strRef>
          </c:cat>
          <c:val>
            <c:numRef>
              <c:f>Sheet1!$B$2:$B$6</c:f>
              <c:numCache>
                <c:formatCode>General</c:formatCode>
                <c:ptCount val="5"/>
                <c:pt idx="0">
                  <c:v>305.0</c:v>
                </c:pt>
                <c:pt idx="1">
                  <c:v>335.0</c:v>
                </c:pt>
                <c:pt idx="2">
                  <c:v>385.0</c:v>
                </c:pt>
                <c:pt idx="3">
                  <c:v>249.0</c:v>
                </c:pt>
                <c:pt idx="4">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dLbl>
              <c:idx val="9"/>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Other Sunscreen Adults Cosmetics Crema 50+ 24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Sheer Touch Sunscreen Adults Cosmetics Crema 50 120Ml</c:v>
                </c:pt>
                <c:pt idx="8">
                  <c:v>Edgewell Hawaiian Tropic Sheer Touch Sunscreen Adults Cosmetics Liquido 30 - 49 60Ml</c:v>
                </c:pt>
                <c:pt idx="9">
                  <c:v>Edgewell Hawaiian Tropic Tanning Sunscreen Adults Cosmetics Spray Liquido 15 - 19 220Ml</c:v>
                </c:pt>
              </c:strCache>
            </c:strRef>
          </c:cat>
          <c:val>
            <c:numRef>
              <c:f>Sheet1!$B$2:$B$11</c:f>
              <c:numCache>
                <c:formatCode>General</c:formatCode>
                <c:ptCount val="10"/>
                <c:pt idx="0">
                  <c:v>350.0</c:v>
                </c:pt>
                <c:pt idx="1">
                  <c:v>205.0</c:v>
                </c:pt>
                <c:pt idx="2">
                  <c:v>350.0</c:v>
                </c:pt>
                <c:pt idx="3">
                  <c:v>350.0</c:v>
                </c:pt>
                <c:pt idx="4">
                  <c:v>125.0</c:v>
                </c:pt>
                <c:pt idx="5">
                  <c:v>385.0</c:v>
                </c:pt>
                <c:pt idx="6">
                  <c:v>299.0</c:v>
                </c:pt>
                <c:pt idx="7">
                  <c:v>205.0</c:v>
                </c:pt>
                <c:pt idx="8">
                  <c:v>105.0</c:v>
                </c:pt>
                <c:pt idx="9">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4.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Kids Sport Sunscreen Kids Cosmetics Crema 50 180Ml</c:v>
                </c:pt>
                <c:pt idx="6">
                  <c:v>Edgewell Banana Boat Mineral Sunscreen Adults Cosmetics Locion 50 60Ml</c:v>
                </c:pt>
                <c:pt idx="7">
                  <c:v>Edgewell Banana Boat Mineral Sunscreen Kids Cosmetics Locion 50 180Ml</c:v>
                </c:pt>
              </c:strCache>
            </c:strRef>
          </c:cat>
          <c:val>
            <c:numRef>
              <c:f>Sheet1!$B$2:$B$9</c:f>
              <c:numCache>
                <c:formatCode>General</c:formatCode>
                <c:ptCount val="8"/>
                <c:pt idx="0">
                  <c:v>310.0</c:v>
                </c:pt>
                <c:pt idx="1">
                  <c:v>305.0</c:v>
                </c:pt>
                <c:pt idx="2">
                  <c:v>349.0</c:v>
                </c:pt>
                <c:pt idx="3">
                  <c:v>364.0</c:v>
                </c:pt>
                <c:pt idx="4">
                  <c:v>305.0</c:v>
                </c:pt>
                <c:pt idx="5">
                  <c:v>305.0</c:v>
                </c:pt>
                <c:pt idx="6">
                  <c:v>310.0</c:v>
                </c:pt>
                <c:pt idx="7">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Liquido 50 6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strCache>
            </c:strRef>
          </c:cat>
          <c:val>
            <c:numRef>
              <c:f>Sheet1!$B$2:$B$6</c:f>
              <c:numCache>
                <c:formatCode>General</c:formatCode>
                <c:ptCount val="5"/>
                <c:pt idx="0">
                  <c:v>305.0</c:v>
                </c:pt>
                <c:pt idx="1">
                  <c:v>335.0</c:v>
                </c:pt>
                <c:pt idx="2">
                  <c:v>385.0</c:v>
                </c:pt>
                <c:pt idx="3">
                  <c:v>249.0</c:v>
                </c:pt>
                <c:pt idx="4">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dLbl>
              <c:idx val="9"/>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Other Sunscreen Adults Cosmetics Crema 50+ 24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Sheer Touch Sunscreen Adults Cosmetics Crema 50 120Ml</c:v>
                </c:pt>
                <c:pt idx="8">
                  <c:v>Edgewell Hawaiian Tropic Sheer Touch Sunscreen Adults Cosmetics Liquido 30 - 49 60Ml</c:v>
                </c:pt>
                <c:pt idx="9">
                  <c:v>Edgewell Hawaiian Tropic Tanning Sunscreen Adults Cosmetics Spray Liquido 15 - 19 220Ml</c:v>
                </c:pt>
              </c:strCache>
            </c:strRef>
          </c:cat>
          <c:val>
            <c:numRef>
              <c:f>Sheet1!$B$2:$B$11</c:f>
              <c:numCache>
                <c:formatCode>General</c:formatCode>
                <c:ptCount val="10"/>
                <c:pt idx="0">
                  <c:v>350.0</c:v>
                </c:pt>
                <c:pt idx="1">
                  <c:v>205.0</c:v>
                </c:pt>
                <c:pt idx="2">
                  <c:v>350.0</c:v>
                </c:pt>
                <c:pt idx="3">
                  <c:v>350.0</c:v>
                </c:pt>
                <c:pt idx="4">
                  <c:v>125.0</c:v>
                </c:pt>
                <c:pt idx="5">
                  <c:v>385.0</c:v>
                </c:pt>
                <c:pt idx="6">
                  <c:v>299.0</c:v>
                </c:pt>
                <c:pt idx="7">
                  <c:v>205.0</c:v>
                </c:pt>
                <c:pt idx="8">
                  <c:v>105.0</c:v>
                </c:pt>
                <c:pt idx="9">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76.2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Kids Sport Sunscreen Kids Cosmetics Crema 50 180Ml</c:v>
                </c:pt>
                <c:pt idx="6">
                  <c:v>Edgewell Banana Boat Mineral Sunscreen Adults Cosmetics Locion 50 60Ml</c:v>
                </c:pt>
                <c:pt idx="7">
                  <c:v>Edgewell Banana Boat Mineral Sunscreen Kids Cosmetics Locion 50 180Ml</c:v>
                </c:pt>
              </c:strCache>
            </c:strRef>
          </c:cat>
          <c:val>
            <c:numRef>
              <c:f>Sheet1!$B$2:$B$9</c:f>
              <c:numCache>
                <c:formatCode>General</c:formatCode>
                <c:ptCount val="8"/>
                <c:pt idx="0">
                  <c:v>310.0</c:v>
                </c:pt>
                <c:pt idx="1">
                  <c:v>305.0</c:v>
                </c:pt>
                <c:pt idx="2">
                  <c:v>349.0</c:v>
                </c:pt>
                <c:pt idx="3">
                  <c:v>376.25</c:v>
                </c:pt>
                <c:pt idx="4">
                  <c:v>305.0</c:v>
                </c:pt>
                <c:pt idx="5">
                  <c:v>305.0</c:v>
                </c:pt>
                <c:pt idx="6">
                  <c:v>310.0</c:v>
                </c:pt>
                <c:pt idx="7">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Liquido 50 6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125.0</a:t>
                    </a:r>
                  </a:p>
                </c:rich>
              </c:tx>
              <c:showLegendKey val="0"/>
              <c:showVal val="1"/>
              <c:showCatName val="0"/>
              <c:showSerName val="0"/>
              <c:showPercent val="0"/>
              <c:showBubbleSize val="0"/>
            </c:dLbl>
            <c:dLbl>
              <c:idx val="4"/>
              <c:tx>
                <c:rich>
                  <a:bodyPr/>
                  <a:lstStyle/>
                  <a:p>
                    <a:r>
                      <a:t>385.0</a:t>
                    </a:r>
                  </a:p>
                </c:rich>
              </c:tx>
              <c:showLegendKey val="0"/>
              <c:showVal val="1"/>
              <c:showCatName val="0"/>
              <c:showSerName val="0"/>
              <c:showPercent val="0"/>
              <c:showBubbleSize val="0"/>
            </c:dLbl>
            <c:dLbl>
              <c:idx val="5"/>
              <c:tx>
                <c:rich>
                  <a:bodyPr/>
                  <a:lstStyle/>
                  <a:p>
                    <a:r>
                      <a:t>299.0</a:t>
                    </a:r>
                  </a:p>
                </c:rich>
              </c:tx>
              <c:showLegendKey val="0"/>
              <c:showVal val="1"/>
              <c:showCatName val="0"/>
              <c:showSerName val="0"/>
              <c:showPercent val="0"/>
              <c:showBubbleSize val="0"/>
            </c:dLbl>
            <c:dLbl>
              <c:idx val="6"/>
              <c:tx>
                <c:rich>
                  <a:bodyPr/>
                  <a:lstStyle/>
                  <a:p>
                    <a:r>
                      <a:t>205.0</a:t>
                    </a:r>
                  </a:p>
                </c:rich>
              </c:tx>
              <c:showLegendKey val="0"/>
              <c:showVal val="1"/>
              <c:showCatName val="0"/>
              <c:showSerName val="0"/>
              <c:showPercent val="0"/>
              <c:showBubbleSize val="0"/>
            </c:dLbl>
            <c:dLbl>
              <c:idx val="7"/>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Hawaiian Tropic Other Sunscreen Adults Cosmetics Crema 50+ 240Ml</c:v>
                </c:pt>
                <c:pt idx="1">
                  <c:v>Edgewell Hawaiian Tropic Ozono Sunscreen Adults Cosmetics Liquido 50+ 120Ml</c:v>
                </c:pt>
                <c:pt idx="2">
                  <c:v>Edgewell Hawaiian Tropic Ozono Sunscreen Adults Cosmetics Liquido 50+ 240Ml</c:v>
                </c:pt>
                <c:pt idx="3">
                  <c:v>Edgewell Hawaiian Tropic Ozono Sunscreen Adults Cosmetics Liquido 50+ 90Ml</c:v>
                </c:pt>
                <c:pt idx="4">
                  <c:v>Edgewell Hawaiian Tropic Ozono Sunscreen Adults Cosmetics Spray Liquido 50+ 180Ml</c:v>
                </c:pt>
                <c:pt idx="5">
                  <c:v>Edgewell Hawaiian Tropic Sheer Touch Sunscreen Adults Cosmetics Crema 30 - 49 240Ml</c:v>
                </c:pt>
                <c:pt idx="6">
                  <c:v>Edgewell Hawaiian Tropic Sheer Touch Sunscreen Adults Cosmetics Crema 50 120Ml</c:v>
                </c:pt>
                <c:pt idx="7">
                  <c:v>Edgewell Hawaiian Tropic Sheer Touch Sunscreen Adults Cosmetics Liquido 30 - 49 60Ml</c:v>
                </c:pt>
              </c:strCache>
            </c:strRef>
          </c:cat>
          <c:val>
            <c:numRef>
              <c:f>Sheet1!$B$2:$B$9</c:f>
              <c:numCache>
                <c:formatCode>General</c:formatCode>
                <c:ptCount val="8"/>
                <c:pt idx="0">
                  <c:v>350.0</c:v>
                </c:pt>
                <c:pt idx="1">
                  <c:v>205.0</c:v>
                </c:pt>
                <c:pt idx="2">
                  <c:v>350.0</c:v>
                </c:pt>
                <c:pt idx="3">
                  <c:v>125.0</c:v>
                </c:pt>
                <c:pt idx="4">
                  <c:v>385.0</c:v>
                </c:pt>
                <c:pt idx="5">
                  <c:v>299.0</c:v>
                </c:pt>
                <c:pt idx="6">
                  <c:v>205.0</c:v>
                </c:pt>
                <c:pt idx="7">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1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205.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12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299.0</a:t>
                    </a:r>
                  </a:p>
                </c:rich>
              </c:tx>
              <c:showLegendKey val="0"/>
              <c:showVal val="1"/>
              <c:showCatName val="0"/>
              <c:showSerName val="0"/>
              <c:showPercent val="0"/>
              <c:showBubbleSize val="0"/>
            </c:dLbl>
            <c:dLbl>
              <c:idx val="10"/>
              <c:tx>
                <c:rich>
                  <a:bodyPr/>
                  <a:lstStyle/>
                  <a:p>
                    <a:r>
                      <a:t>205.0</a:t>
                    </a:r>
                  </a:p>
                </c:rich>
              </c:tx>
              <c:showLegendKey val="0"/>
              <c:showVal val="1"/>
              <c:showCatName val="0"/>
              <c:showSerName val="0"/>
              <c:showPercent val="0"/>
              <c:showBubbleSize val="0"/>
            </c:dLbl>
            <c:dLbl>
              <c:idx val="11"/>
              <c:tx>
                <c:rich>
                  <a:bodyPr/>
                  <a:lstStyle/>
                  <a:p>
                    <a:r>
                      <a:t>105.0</a:t>
                    </a:r>
                  </a:p>
                </c:rich>
              </c:tx>
              <c:showLegendKey val="0"/>
              <c:showVal val="1"/>
              <c:showCatName val="0"/>
              <c:showSerName val="0"/>
              <c:showPercent val="0"/>
              <c:showBubbleSize val="0"/>
            </c:dLbl>
            <c:dLbl>
              <c:idx val="1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Hawaiian Tropic After Sun After Sun Adults Cosmetics Gel 0 - 5 240Ml</c:v>
                </c:pt>
                <c:pt idx="1">
                  <c:v>Edgewell Hawaiian Tropic Carrot Tanning Adults Cosmetics Crema 10 - 14 240Ml</c:v>
                </c:pt>
                <c:pt idx="2">
                  <c:v>Edgewell Hawaiian Tropic Island Sport Sunscreen Adults Sport Liquido 50 60Ml</c:v>
                </c:pt>
                <c:pt idx="3">
                  <c:v>Edgewell Hawaiian Tropic Other Sunscreen Adults Cosmetics Crema 50+ 240Ml</c:v>
                </c:pt>
                <c:pt idx="4">
                  <c:v>Edgewell Hawaiian Tropic Ozono Sunscreen Adults Cosmetics Liquido 50+ 120Ml</c:v>
                </c:pt>
                <c:pt idx="5">
                  <c:v>Edgewell Hawaiian Tropic Ozono Sunscreen Adults Cosmetics Liquido 50+ 180Ml</c:v>
                </c:pt>
                <c:pt idx="6">
                  <c:v>Edgewell Hawaiian Tropic Ozono Sunscreen Adults Cosmetics Liquido 50+ 240Ml</c:v>
                </c:pt>
                <c:pt idx="7">
                  <c:v>Edgewell Hawaiian Tropic Ozono Sunscreen Adults Cosmetics Liquido 50+ 90Ml</c:v>
                </c:pt>
                <c:pt idx="8">
                  <c:v>Edgewell Hawaiian Tropic Ozono Sunscreen Adults Cosmetics Spray Liquido 50+ 180Ml</c:v>
                </c:pt>
                <c:pt idx="9">
                  <c:v>Edgewell Hawaiian Tropic Sheer Touch Sunscreen Adults Cosmetics Crema 30 - 49 240Ml</c:v>
                </c:pt>
                <c:pt idx="10">
                  <c:v>Edgewell Hawaiian Tropic Sheer Touch Sunscreen Adults Cosmetics Crema 50 120Ml</c:v>
                </c:pt>
                <c:pt idx="11">
                  <c:v>Edgewell Hawaiian Tropic Sheer Touch Sunscreen Adults Cosmetics Liquido 30 - 49 60Ml</c:v>
                </c:pt>
                <c:pt idx="12">
                  <c:v>Edgewell Hawaiian Tropic Tanning Sunscreen Adults Cosmetics Spray Liquido 15 - 19 220Ml</c:v>
                </c:pt>
              </c:strCache>
            </c:strRef>
          </c:cat>
          <c:val>
            <c:numRef>
              <c:f>Sheet1!$B$2:$B$14</c:f>
              <c:numCache>
                <c:formatCode>General</c:formatCode>
                <c:ptCount val="13"/>
                <c:pt idx="0">
                  <c:v>299.0</c:v>
                </c:pt>
                <c:pt idx="1">
                  <c:v>299.0</c:v>
                </c:pt>
                <c:pt idx="2">
                  <c:v>105.0</c:v>
                </c:pt>
                <c:pt idx="3">
                  <c:v>350.0</c:v>
                </c:pt>
                <c:pt idx="4">
                  <c:v>205.0</c:v>
                </c:pt>
                <c:pt idx="5">
                  <c:v>350.0</c:v>
                </c:pt>
                <c:pt idx="6">
                  <c:v>350.0</c:v>
                </c:pt>
                <c:pt idx="7">
                  <c:v>125.0</c:v>
                </c:pt>
                <c:pt idx="8">
                  <c:v>385.0</c:v>
                </c:pt>
                <c:pt idx="9">
                  <c:v>299.0</c:v>
                </c:pt>
                <c:pt idx="10">
                  <c:v>205.0</c:v>
                </c:pt>
                <c:pt idx="11">
                  <c:v>105.0</c:v>
                </c:pt>
                <c:pt idx="1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7.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Kids Sport Sunscreen Kids Cosmetics Crema 50 180Ml</c:v>
                </c:pt>
                <c:pt idx="6">
                  <c:v>Edgewell Banana Boat Mineral Sunscreen Adults Cosmetics Locion 50 60Ml</c:v>
                </c:pt>
                <c:pt idx="7">
                  <c:v>Edgewell Banana Boat Mineral Sunscreen Kids Cosmetics Locion 50 180Ml</c:v>
                </c:pt>
              </c:strCache>
            </c:strRef>
          </c:cat>
          <c:val>
            <c:numRef>
              <c:f>Sheet1!$B$2:$B$9</c:f>
              <c:numCache>
                <c:formatCode>General</c:formatCode>
                <c:ptCount val="8"/>
                <c:pt idx="0">
                  <c:v>310.0</c:v>
                </c:pt>
                <c:pt idx="1">
                  <c:v>305.0</c:v>
                </c:pt>
                <c:pt idx="2">
                  <c:v>349.0</c:v>
                </c:pt>
                <c:pt idx="3">
                  <c:v>367.5</c:v>
                </c:pt>
                <c:pt idx="4">
                  <c:v>305.0</c:v>
                </c:pt>
                <c:pt idx="5">
                  <c:v>305.0</c:v>
                </c:pt>
                <c:pt idx="6">
                  <c:v>310.0</c:v>
                </c:pt>
                <c:pt idx="7">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Liquido 50 6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qua Protect Sunscreen Adults Sport Crema 50+ 236Ml</c:v>
                </c:pt>
                <c:pt idx="1">
                  <c:v>Edgewell Banana Boat Dry Balance Sunscreen Adults Sport Crema 50+ 180Ml</c:v>
                </c:pt>
                <c:pt idx="2">
                  <c:v>Edgewell Banana Boat Dry Balance Sunscreen Adults Sport Spray Liquido 50 220Ml</c:v>
                </c:pt>
              </c:strCache>
            </c:strRef>
          </c:cat>
          <c:val>
            <c:numRef>
              <c:f>Sheet1!$B$2:$B$4</c:f>
              <c:numCache>
                <c:formatCode>General</c:formatCode>
                <c:ptCount val="3"/>
                <c:pt idx="0">
                  <c:v>305.0</c:v>
                </c:pt>
                <c:pt idx="1">
                  <c:v>335.0</c:v>
                </c:pt>
                <c:pt idx="2">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dLbl>
              <c:idx val="9"/>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Other Sunscreen Adults Cosmetics Crema 50+ 24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Sheer Touch Sunscreen Adults Cosmetics Crema 50 120Ml</c:v>
                </c:pt>
                <c:pt idx="8">
                  <c:v>Edgewell Hawaiian Tropic Sheer Touch Sunscreen Adults Cosmetics Liquido 30 - 49 60Ml</c:v>
                </c:pt>
                <c:pt idx="9">
                  <c:v>Edgewell Hawaiian Tropic Tanning Sunscreen Adults Cosmetics Spray Liquido 15 - 19 220Ml</c:v>
                </c:pt>
              </c:strCache>
            </c:strRef>
          </c:cat>
          <c:val>
            <c:numRef>
              <c:f>Sheet1!$B$2:$B$11</c:f>
              <c:numCache>
                <c:formatCode>General</c:formatCode>
                <c:ptCount val="10"/>
                <c:pt idx="0">
                  <c:v>350.0</c:v>
                </c:pt>
                <c:pt idx="1">
                  <c:v>205.0</c:v>
                </c:pt>
                <c:pt idx="2">
                  <c:v>350.0</c:v>
                </c:pt>
                <c:pt idx="3">
                  <c:v>350.0</c:v>
                </c:pt>
                <c:pt idx="4">
                  <c:v>125.0</c:v>
                </c:pt>
                <c:pt idx="5">
                  <c:v>385.0</c:v>
                </c:pt>
                <c:pt idx="6">
                  <c:v>299.0</c:v>
                </c:pt>
                <c:pt idx="7">
                  <c:v>205.0</c:v>
                </c:pt>
                <c:pt idx="8">
                  <c:v>105.0</c:v>
                </c:pt>
                <c:pt idx="9">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7.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249.0</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Dry Balance Sunscreen Adults Cosmetics Spray Crema 50+ 220Ml</c:v>
                </c:pt>
                <c:pt idx="6">
                  <c:v>Edgewell Banana Boat Kids Sport Sunscreen Kids Cosmetics Crema 50 180Ml</c:v>
                </c:pt>
                <c:pt idx="7">
                  <c:v>Edgewell Banana Boat Mineral Sunscreen Adults Cosmetics Locion 50 60Ml</c:v>
                </c:pt>
                <c:pt idx="8">
                  <c:v>Edgewell Banana Boat Mineral Sunscreen Kids Cosmetics Locion 50 180Ml</c:v>
                </c:pt>
              </c:strCache>
            </c:strRef>
          </c:cat>
          <c:val>
            <c:numRef>
              <c:f>Sheet1!$B$2:$B$10</c:f>
              <c:numCache>
                <c:formatCode>General</c:formatCode>
                <c:ptCount val="9"/>
                <c:pt idx="0">
                  <c:v>310.0</c:v>
                </c:pt>
                <c:pt idx="1">
                  <c:v>305.0</c:v>
                </c:pt>
                <c:pt idx="2">
                  <c:v>349.0</c:v>
                </c:pt>
                <c:pt idx="3">
                  <c:v>367.5</c:v>
                </c:pt>
                <c:pt idx="4">
                  <c:v>305.0</c:v>
                </c:pt>
                <c:pt idx="5">
                  <c:v>249.0</c:v>
                </c:pt>
                <c:pt idx="6">
                  <c:v>305.0</c:v>
                </c:pt>
                <c:pt idx="7">
                  <c:v>310.0</c:v>
                </c:pt>
                <c:pt idx="8">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Liquido 50 6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strCache>
            </c:strRef>
          </c:cat>
          <c:val>
            <c:numRef>
              <c:f>Sheet1!$B$2:$B$6</c:f>
              <c:numCache>
                <c:formatCode>General</c:formatCode>
                <c:ptCount val="5"/>
                <c:pt idx="0">
                  <c:v>305.0</c:v>
                </c:pt>
                <c:pt idx="1">
                  <c:v>335.0</c:v>
                </c:pt>
                <c:pt idx="2">
                  <c:v>385.0</c:v>
                </c:pt>
                <c:pt idx="3">
                  <c:v>249.0</c:v>
                </c:pt>
                <c:pt idx="4">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9.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dLbl>
              <c:idx val="12"/>
              <c:tx>
                <c:rich>
                  <a:bodyPr/>
                  <a:lstStyle/>
                  <a:p>
                    <a:r>
                      <a:t>279.0</a:t>
                    </a:r>
                  </a:p>
                </c:rich>
              </c:tx>
              <c:showLegendKey val="0"/>
              <c:showVal val="1"/>
              <c:showCatName val="0"/>
              <c:showSerName val="0"/>
              <c:showPercent val="0"/>
              <c:showBubbleSize val="0"/>
            </c:dLbl>
            <c:dLbl>
              <c:idx val="13"/>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Adults Sport Locion 50 180Ml</c:v>
                </c:pt>
                <c:pt idx="11">
                  <c:v>Edgewell Banana Boat Mineral Sunscreen Kids Cosmetics Locion 50 180Ml</c:v>
                </c:pt>
                <c:pt idx="12">
                  <c:v>Edgewell Banana Boat Tanning Tanning Adults Cosmetics Spray Aceite 0 - 5 237Ml</c:v>
                </c:pt>
                <c:pt idx="13">
                  <c:v>Edgewell Banana Boat Ultra Sunscreen Adults Sport Roll-On 60+ 75Ml</c:v>
                </c:pt>
              </c:strCache>
            </c:strRef>
          </c:cat>
          <c:val>
            <c:numRef>
              <c:f>Sheet1!$B$2:$B$15</c:f>
              <c:numCache>
                <c:formatCode>General</c:formatCode>
                <c:ptCount val="14"/>
                <c:pt idx="0">
                  <c:v>310.0</c:v>
                </c:pt>
                <c:pt idx="1">
                  <c:v>305.0</c:v>
                </c:pt>
                <c:pt idx="2">
                  <c:v>349.0</c:v>
                </c:pt>
                <c:pt idx="3">
                  <c:v>305.0</c:v>
                </c:pt>
                <c:pt idx="4">
                  <c:v>367.5</c:v>
                </c:pt>
                <c:pt idx="5">
                  <c:v>305.0</c:v>
                </c:pt>
                <c:pt idx="6">
                  <c:v>335.0</c:v>
                </c:pt>
                <c:pt idx="7">
                  <c:v>385.0</c:v>
                </c:pt>
                <c:pt idx="8">
                  <c:v>305.0</c:v>
                </c:pt>
                <c:pt idx="9">
                  <c:v>310.0</c:v>
                </c:pt>
                <c:pt idx="10">
                  <c:v>249.0</c:v>
                </c:pt>
                <c:pt idx="11">
                  <c:v>242.0</c:v>
                </c:pt>
                <c:pt idx="12">
                  <c:v>279.0</c:v>
                </c:pt>
                <c:pt idx="13">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7.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249.0</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Dry Balance Sunscreen Adults Cosmetics Spray Crema 50+ 220Ml</c:v>
                </c:pt>
                <c:pt idx="6">
                  <c:v>Edgewell Banana Boat Kids Sport Sunscreen Kids Cosmetics Crema 50 180Ml</c:v>
                </c:pt>
                <c:pt idx="7">
                  <c:v>Edgewell Banana Boat Mineral Sunscreen Adults Cosmetics Locion 50 60Ml</c:v>
                </c:pt>
                <c:pt idx="8">
                  <c:v>Edgewell Banana Boat Mineral Sunscreen Kids Cosmetics Locion 50 180Ml</c:v>
                </c:pt>
              </c:strCache>
            </c:strRef>
          </c:cat>
          <c:val>
            <c:numRef>
              <c:f>Sheet1!$B$2:$B$10</c:f>
              <c:numCache>
                <c:formatCode>General</c:formatCode>
                <c:ptCount val="9"/>
                <c:pt idx="0">
                  <c:v>310.0</c:v>
                </c:pt>
                <c:pt idx="1">
                  <c:v>305.0</c:v>
                </c:pt>
                <c:pt idx="2">
                  <c:v>349.0</c:v>
                </c:pt>
                <c:pt idx="3">
                  <c:v>367.5</c:v>
                </c:pt>
                <c:pt idx="4">
                  <c:v>305.0</c:v>
                </c:pt>
                <c:pt idx="5">
                  <c:v>249.0</c:v>
                </c:pt>
                <c:pt idx="6">
                  <c:v>305.0</c:v>
                </c:pt>
                <c:pt idx="7">
                  <c:v>310.0</c:v>
                </c:pt>
                <c:pt idx="8">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Liquido 50 6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strCache>
            </c:strRef>
          </c:cat>
          <c:val>
            <c:numRef>
              <c:f>Sheet1!$B$2:$B$6</c:f>
              <c:numCache>
                <c:formatCode>General</c:formatCode>
                <c:ptCount val="5"/>
                <c:pt idx="0">
                  <c:v>305.0</c:v>
                </c:pt>
                <c:pt idx="1">
                  <c:v>335.0</c:v>
                </c:pt>
                <c:pt idx="2">
                  <c:v>385.0</c:v>
                </c:pt>
                <c:pt idx="3">
                  <c:v>249.0</c:v>
                </c:pt>
                <c:pt idx="4">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dLbl>
              <c:idx val="9"/>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Other Sunscreen Adults Cosmetics Crema 50+ 24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Sheer Touch Sunscreen Adults Cosmetics Crema 50 120Ml</c:v>
                </c:pt>
                <c:pt idx="8">
                  <c:v>Edgewell Hawaiian Tropic Sheer Touch Sunscreen Adults Cosmetics Liquido 30 - 49 60Ml</c:v>
                </c:pt>
                <c:pt idx="9">
                  <c:v>Edgewell Hawaiian Tropic Tanning Sunscreen Adults Cosmetics Spray Liquido 15 - 19 220Ml</c:v>
                </c:pt>
              </c:strCache>
            </c:strRef>
          </c:cat>
          <c:val>
            <c:numRef>
              <c:f>Sheet1!$B$2:$B$11</c:f>
              <c:numCache>
                <c:formatCode>General</c:formatCode>
                <c:ptCount val="10"/>
                <c:pt idx="0">
                  <c:v>350.0</c:v>
                </c:pt>
                <c:pt idx="1">
                  <c:v>205.0</c:v>
                </c:pt>
                <c:pt idx="2">
                  <c:v>350.0</c:v>
                </c:pt>
                <c:pt idx="3">
                  <c:v>350.0</c:v>
                </c:pt>
                <c:pt idx="4">
                  <c:v>125.0</c:v>
                </c:pt>
                <c:pt idx="5">
                  <c:v>385.0</c:v>
                </c:pt>
                <c:pt idx="6">
                  <c:v>299.0</c:v>
                </c:pt>
                <c:pt idx="7">
                  <c:v>205.0</c:v>
                </c:pt>
                <c:pt idx="8">
                  <c:v>105.0</c:v>
                </c:pt>
                <c:pt idx="9">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7.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249.0</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Dry Balance Sunscreen Adults Cosmetics Spray Crema 50+ 220Ml</c:v>
                </c:pt>
                <c:pt idx="6">
                  <c:v>Edgewell Banana Boat Kids Sport Sunscreen Kids Cosmetics Crema 50 180Ml</c:v>
                </c:pt>
                <c:pt idx="7">
                  <c:v>Edgewell Banana Boat Mineral Sunscreen Adults Cosmetics Locion 50 60Ml</c:v>
                </c:pt>
                <c:pt idx="8">
                  <c:v>Edgewell Banana Boat Mineral Sunscreen Kids Cosmetics Locion 50 180Ml</c:v>
                </c:pt>
              </c:strCache>
            </c:strRef>
          </c:cat>
          <c:val>
            <c:numRef>
              <c:f>Sheet1!$B$2:$B$10</c:f>
              <c:numCache>
                <c:formatCode>General</c:formatCode>
                <c:ptCount val="9"/>
                <c:pt idx="0">
                  <c:v>310.0</c:v>
                </c:pt>
                <c:pt idx="1">
                  <c:v>305.0</c:v>
                </c:pt>
                <c:pt idx="2">
                  <c:v>349.0</c:v>
                </c:pt>
                <c:pt idx="3">
                  <c:v>367.5</c:v>
                </c:pt>
                <c:pt idx="4">
                  <c:v>305.0</c:v>
                </c:pt>
                <c:pt idx="5">
                  <c:v>249.0</c:v>
                </c:pt>
                <c:pt idx="6">
                  <c:v>305.0</c:v>
                </c:pt>
                <c:pt idx="7">
                  <c:v>310.0</c:v>
                </c:pt>
                <c:pt idx="8">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Liquido 50 6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strCache>
            </c:strRef>
          </c:cat>
          <c:val>
            <c:numRef>
              <c:f>Sheet1!$B$2:$B$6</c:f>
              <c:numCache>
                <c:formatCode>General</c:formatCode>
                <c:ptCount val="5"/>
                <c:pt idx="0">
                  <c:v>305.0</c:v>
                </c:pt>
                <c:pt idx="1">
                  <c:v>335.0</c:v>
                </c:pt>
                <c:pt idx="2">
                  <c:v>385.0</c:v>
                </c:pt>
                <c:pt idx="3">
                  <c:v>249.0</c:v>
                </c:pt>
                <c:pt idx="4">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dLbl>
              <c:idx val="9"/>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Other Sunscreen Adults Cosmetics Crema 50+ 24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Sheer Touch Sunscreen Adults Cosmetics Crema 50 120Ml</c:v>
                </c:pt>
                <c:pt idx="8">
                  <c:v>Edgewell Hawaiian Tropic Sheer Touch Sunscreen Adults Cosmetics Liquido 30 - 49 60Ml</c:v>
                </c:pt>
                <c:pt idx="9">
                  <c:v>Edgewell Hawaiian Tropic Tanning Sunscreen Adults Cosmetics Spray Liquido 15 - 19 220Ml</c:v>
                </c:pt>
              </c:strCache>
            </c:strRef>
          </c:cat>
          <c:val>
            <c:numRef>
              <c:f>Sheet1!$B$2:$B$11</c:f>
              <c:numCache>
                <c:formatCode>General</c:formatCode>
                <c:ptCount val="10"/>
                <c:pt idx="0">
                  <c:v>350.0</c:v>
                </c:pt>
                <c:pt idx="1">
                  <c:v>205.0</c:v>
                </c:pt>
                <c:pt idx="2">
                  <c:v>350.0</c:v>
                </c:pt>
                <c:pt idx="3">
                  <c:v>350.0</c:v>
                </c:pt>
                <c:pt idx="4">
                  <c:v>125.0</c:v>
                </c:pt>
                <c:pt idx="5">
                  <c:v>385.0</c:v>
                </c:pt>
                <c:pt idx="6">
                  <c:v>299.0</c:v>
                </c:pt>
                <c:pt idx="7">
                  <c:v>205.0</c:v>
                </c:pt>
                <c:pt idx="8">
                  <c:v>105.0</c:v>
                </c:pt>
                <c:pt idx="9">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Liquido 50 6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strCache>
            </c:strRef>
          </c:cat>
          <c:val>
            <c:numRef>
              <c:f>Sheet1!$B$2:$B$6</c:f>
              <c:numCache>
                <c:formatCode>General</c:formatCode>
                <c:ptCount val="5"/>
                <c:pt idx="0">
                  <c:v>305.0</c:v>
                </c:pt>
                <c:pt idx="1">
                  <c:v>335.0</c:v>
                </c:pt>
                <c:pt idx="2">
                  <c:v>385.0</c:v>
                </c:pt>
                <c:pt idx="3">
                  <c:v>249.0</c:v>
                </c:pt>
                <c:pt idx="4">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85.0</a:t>
                    </a:r>
                  </a:p>
                </c:rich>
              </c:tx>
              <c:showLegendKey val="0"/>
              <c:showVal val="1"/>
              <c:showCatName val="0"/>
              <c:showSerName val="0"/>
              <c:showPercent val="0"/>
              <c:showBubbleSize val="0"/>
            </c:dLbl>
            <c:dLbl>
              <c:idx val="4"/>
              <c:tx>
                <c:rich>
                  <a:bodyPr/>
                  <a:lstStyle/>
                  <a:p>
                    <a:r>
                      <a:t>20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dLbl>
              <c:idx val="6"/>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Hawaiian Tropic Other Sunscreen Adults Cosmetics Crema 50+ 240Ml</c:v>
                </c:pt>
                <c:pt idx="1">
                  <c:v>Edgewell Hawaiian Tropic Ozono Sunscreen Adults Cosmetics Liquido 50+ 180Ml</c:v>
                </c:pt>
                <c:pt idx="2">
                  <c:v>Edgewell Hawaiian Tropic Ozono Sunscreen Adults Cosmetics Liquido 50+ 240Ml</c:v>
                </c:pt>
                <c:pt idx="3">
                  <c:v>Edgewell Hawaiian Tropic Ozono Sunscreen Adults Cosmetics Spray Liquido 50+ 180Ml</c:v>
                </c:pt>
                <c:pt idx="4">
                  <c:v>Edgewell Hawaiian Tropic Sheer Touch Sunscreen Adults Cosmetics Crema 50 120Ml</c:v>
                </c:pt>
                <c:pt idx="5">
                  <c:v>Edgewell Hawaiian Tropic Sheer Touch Sunscreen Adults Cosmetics Liquido 30 - 49 60Ml</c:v>
                </c:pt>
                <c:pt idx="6">
                  <c:v>Edgewell Hawaiian Tropic Tanning Sunscreen Adults Cosmetics Spray Liquido 15 - 19 220Ml</c:v>
                </c:pt>
              </c:strCache>
            </c:strRef>
          </c:cat>
          <c:val>
            <c:numRef>
              <c:f>Sheet1!$B$2:$B$8</c:f>
              <c:numCache>
                <c:formatCode>General</c:formatCode>
                <c:ptCount val="7"/>
                <c:pt idx="0">
                  <c:v>350.0</c:v>
                </c:pt>
                <c:pt idx="1">
                  <c:v>350.0</c:v>
                </c:pt>
                <c:pt idx="2">
                  <c:v>350.0</c:v>
                </c:pt>
                <c:pt idx="3">
                  <c:v>385.0</c:v>
                </c:pt>
                <c:pt idx="4">
                  <c:v>205.0</c:v>
                </c:pt>
                <c:pt idx="5">
                  <c:v>105.0</c:v>
                </c:pt>
                <c:pt idx="6">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85.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Kids Sport Sunscreen Kids Cosmetics Crema 50 180Ml</c:v>
                </c:pt>
                <c:pt idx="6">
                  <c:v>Edgewell Banana Boat Mineral Sunscreen Adults Cosmetics Locion 50 60Ml</c:v>
                </c:pt>
                <c:pt idx="7">
                  <c:v>Edgewell Banana Boat Mineral Sunscreen Kids Cosmetics Locion 50 180Ml</c:v>
                </c:pt>
              </c:strCache>
            </c:strRef>
          </c:cat>
          <c:val>
            <c:numRef>
              <c:f>Sheet1!$B$2:$B$9</c:f>
              <c:numCache>
                <c:formatCode>General</c:formatCode>
                <c:ptCount val="8"/>
                <c:pt idx="0">
                  <c:v>310.0</c:v>
                </c:pt>
                <c:pt idx="1">
                  <c:v>305.0</c:v>
                </c:pt>
                <c:pt idx="2">
                  <c:v>349.0</c:v>
                </c:pt>
                <c:pt idx="3">
                  <c:v>385.0</c:v>
                </c:pt>
                <c:pt idx="4">
                  <c:v>305.0</c:v>
                </c:pt>
                <c:pt idx="5">
                  <c:v>305.0</c:v>
                </c:pt>
                <c:pt idx="6">
                  <c:v>310.0</c:v>
                </c:pt>
                <c:pt idx="7">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Liquido 50 6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qua Protect Sunscreen Adults Sport Crema 50+ 236Ml</c:v>
                </c:pt>
                <c:pt idx="1">
                  <c:v>Edgewell Banana Boat Dry Balance Sunscreen Adults Sport Spray Liquido 50 220Ml</c:v>
                </c:pt>
                <c:pt idx="2">
                  <c:v>Edgewell Banana Boat Mineral Sunscreen Adults Sport Locion 50 180Ml</c:v>
                </c:pt>
              </c:strCache>
            </c:strRef>
          </c:cat>
          <c:val>
            <c:numRef>
              <c:f>Sheet1!$B$2:$B$4</c:f>
              <c:numCache>
                <c:formatCode>General</c:formatCode>
                <c:ptCount val="3"/>
                <c:pt idx="0">
                  <c:v>305.0</c:v>
                </c:pt>
                <c:pt idx="1">
                  <c:v>385.0</c:v>
                </c:pt>
                <c:pt idx="2">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dLbl>
              <c:idx val="9"/>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Other Sunscreen Adults Cosmetics Crema 50+ 24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Sheer Touch Sunscreen Adults Cosmetics Crema 50 120Ml</c:v>
                </c:pt>
                <c:pt idx="8">
                  <c:v>Edgewell Hawaiian Tropic Sheer Touch Sunscreen Adults Cosmetics Liquido 30 - 49 60Ml</c:v>
                </c:pt>
                <c:pt idx="9">
                  <c:v>Edgewell Hawaiian Tropic Tanning Sunscreen Adults Cosmetics Spray Liquido 15 - 19 220Ml</c:v>
                </c:pt>
              </c:strCache>
            </c:strRef>
          </c:cat>
          <c:val>
            <c:numRef>
              <c:f>Sheet1!$B$2:$B$11</c:f>
              <c:numCache>
                <c:formatCode>General</c:formatCode>
                <c:ptCount val="10"/>
                <c:pt idx="0">
                  <c:v>350.0</c:v>
                </c:pt>
                <c:pt idx="1">
                  <c:v>205.0</c:v>
                </c:pt>
                <c:pt idx="2">
                  <c:v>350.0</c:v>
                </c:pt>
                <c:pt idx="3">
                  <c:v>350.0</c:v>
                </c:pt>
                <c:pt idx="4">
                  <c:v>125.0</c:v>
                </c:pt>
                <c:pt idx="5">
                  <c:v>385.0</c:v>
                </c:pt>
                <c:pt idx="6">
                  <c:v>299.0</c:v>
                </c:pt>
                <c:pt idx="7">
                  <c:v>205.0</c:v>
                </c:pt>
                <c:pt idx="8">
                  <c:v>105.0</c:v>
                </c:pt>
                <c:pt idx="9">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1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205.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12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299.0</a:t>
                    </a:r>
                  </a:p>
                </c:rich>
              </c:tx>
              <c:showLegendKey val="0"/>
              <c:showVal val="1"/>
              <c:showCatName val="0"/>
              <c:showSerName val="0"/>
              <c:showPercent val="0"/>
              <c:showBubbleSize val="0"/>
            </c:dLbl>
            <c:dLbl>
              <c:idx val="10"/>
              <c:tx>
                <c:rich>
                  <a:bodyPr/>
                  <a:lstStyle/>
                  <a:p>
                    <a:r>
                      <a:t>205.0</a:t>
                    </a:r>
                  </a:p>
                </c:rich>
              </c:tx>
              <c:showLegendKey val="0"/>
              <c:showVal val="1"/>
              <c:showCatName val="0"/>
              <c:showSerName val="0"/>
              <c:showPercent val="0"/>
              <c:showBubbleSize val="0"/>
            </c:dLbl>
            <c:dLbl>
              <c:idx val="11"/>
              <c:tx>
                <c:rich>
                  <a:bodyPr/>
                  <a:lstStyle/>
                  <a:p>
                    <a:r>
                      <a:t>105.0</a:t>
                    </a:r>
                  </a:p>
                </c:rich>
              </c:tx>
              <c:showLegendKey val="0"/>
              <c:showVal val="1"/>
              <c:showCatName val="0"/>
              <c:showSerName val="0"/>
              <c:showPercent val="0"/>
              <c:showBubbleSize val="0"/>
            </c:dLbl>
            <c:dLbl>
              <c:idx val="1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Hawaiian Tropic After Sun After Sun Adults Cosmetics Gel 0 - 5 240Ml</c:v>
                </c:pt>
                <c:pt idx="1">
                  <c:v>Edgewell Hawaiian Tropic Carrot Tanning Adults Cosmetics Crema 10 - 14 240Ml</c:v>
                </c:pt>
                <c:pt idx="2">
                  <c:v>Edgewell Hawaiian Tropic Island Sport Sunscreen Adults Sport Liquido 50 60Ml</c:v>
                </c:pt>
                <c:pt idx="3">
                  <c:v>Edgewell Hawaiian Tropic Other Sunscreen Adults Cosmetics Crema 50+ 240Ml</c:v>
                </c:pt>
                <c:pt idx="4">
                  <c:v>Edgewell Hawaiian Tropic Ozono Sunscreen Adults Cosmetics Liquido 50+ 120Ml</c:v>
                </c:pt>
                <c:pt idx="5">
                  <c:v>Edgewell Hawaiian Tropic Ozono Sunscreen Adults Cosmetics Liquido 50+ 180Ml</c:v>
                </c:pt>
                <c:pt idx="6">
                  <c:v>Edgewell Hawaiian Tropic Ozono Sunscreen Adults Cosmetics Liquido 50+ 240Ml</c:v>
                </c:pt>
                <c:pt idx="7">
                  <c:v>Edgewell Hawaiian Tropic Ozono Sunscreen Adults Cosmetics Liquido 50+ 90Ml</c:v>
                </c:pt>
                <c:pt idx="8">
                  <c:v>Edgewell Hawaiian Tropic Ozono Sunscreen Adults Cosmetics Spray Liquido 50+ 180Ml</c:v>
                </c:pt>
                <c:pt idx="9">
                  <c:v>Edgewell Hawaiian Tropic Sheer Touch Sunscreen Adults Cosmetics Crema 30 - 49 240Ml</c:v>
                </c:pt>
                <c:pt idx="10">
                  <c:v>Edgewell Hawaiian Tropic Sheer Touch Sunscreen Adults Cosmetics Crema 50 120Ml</c:v>
                </c:pt>
                <c:pt idx="11">
                  <c:v>Edgewell Hawaiian Tropic Sheer Touch Sunscreen Adults Cosmetics Liquido 30 - 49 60Ml</c:v>
                </c:pt>
                <c:pt idx="12">
                  <c:v>Edgewell Hawaiian Tropic Tanning Sunscreen Adults Cosmetics Spray Liquido 15 - 19 220Ml</c:v>
                </c:pt>
              </c:strCache>
            </c:strRef>
          </c:cat>
          <c:val>
            <c:numRef>
              <c:f>Sheet1!$B$2:$B$14</c:f>
              <c:numCache>
                <c:formatCode>General</c:formatCode>
                <c:ptCount val="13"/>
                <c:pt idx="0">
                  <c:v>299.0</c:v>
                </c:pt>
                <c:pt idx="1">
                  <c:v>299.0</c:v>
                </c:pt>
                <c:pt idx="2">
                  <c:v>105.0</c:v>
                </c:pt>
                <c:pt idx="3">
                  <c:v>350.0</c:v>
                </c:pt>
                <c:pt idx="4">
                  <c:v>205.0</c:v>
                </c:pt>
                <c:pt idx="5">
                  <c:v>350.0</c:v>
                </c:pt>
                <c:pt idx="6">
                  <c:v>350.0</c:v>
                </c:pt>
                <c:pt idx="7">
                  <c:v>125.0</c:v>
                </c:pt>
                <c:pt idx="8">
                  <c:v>385.0</c:v>
                </c:pt>
                <c:pt idx="9">
                  <c:v>299.0</c:v>
                </c:pt>
                <c:pt idx="10">
                  <c:v>205.0</c:v>
                </c:pt>
                <c:pt idx="11">
                  <c:v>105.0</c:v>
                </c:pt>
                <c:pt idx="1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Liquido 50 6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strCache>
            </c:strRef>
          </c:cat>
          <c:val>
            <c:numRef>
              <c:f>Sheet1!$B$2:$B$5</c:f>
              <c:numCache>
                <c:formatCode>General</c:formatCode>
                <c:ptCount val="4"/>
                <c:pt idx="0">
                  <c:v>305.0</c:v>
                </c:pt>
                <c:pt idx="1">
                  <c:v>335.0</c:v>
                </c:pt>
                <c:pt idx="2">
                  <c:v>385.0</c:v>
                </c:pt>
                <c:pt idx="3">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7.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Kids Sport Sunscreen Kids Cosmetics Crema 50 180Ml</c:v>
                </c:pt>
                <c:pt idx="6">
                  <c:v>Edgewell Banana Boat Mineral Sunscreen Adults Cosmetics Locion 50 60Ml</c:v>
                </c:pt>
                <c:pt idx="7">
                  <c:v>Edgewell Banana Boat Mineral Sunscreen Kids Cosmetics Locion 50 180Ml</c:v>
                </c:pt>
              </c:strCache>
            </c:strRef>
          </c:cat>
          <c:val>
            <c:numRef>
              <c:f>Sheet1!$B$2:$B$9</c:f>
              <c:numCache>
                <c:formatCode>General</c:formatCode>
                <c:ptCount val="8"/>
                <c:pt idx="0">
                  <c:v>310.0</c:v>
                </c:pt>
                <c:pt idx="1">
                  <c:v>305.0</c:v>
                </c:pt>
                <c:pt idx="2">
                  <c:v>349.0</c:v>
                </c:pt>
                <c:pt idx="3">
                  <c:v>367.5</c:v>
                </c:pt>
                <c:pt idx="4">
                  <c:v>305.0</c:v>
                </c:pt>
                <c:pt idx="5">
                  <c:v>305.0</c:v>
                </c:pt>
                <c:pt idx="6">
                  <c:v>310.0</c:v>
                </c:pt>
                <c:pt idx="7">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Liquido 50 6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strCache>
            </c:strRef>
          </c:cat>
          <c:val>
            <c:numRef>
              <c:f>Sheet1!$B$2:$B$6</c:f>
              <c:numCache>
                <c:formatCode>General</c:formatCode>
                <c:ptCount val="5"/>
                <c:pt idx="0">
                  <c:v>305.0</c:v>
                </c:pt>
                <c:pt idx="1">
                  <c:v>335.0</c:v>
                </c:pt>
                <c:pt idx="2">
                  <c:v>385.0</c:v>
                </c:pt>
                <c:pt idx="3">
                  <c:v>249.0</c:v>
                </c:pt>
                <c:pt idx="4">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Hawaiian Tropic Other Sunscreen Adults Cosmetics Crema 50+ 24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Sheer Touch Sunscreen Adults Cosmetics Crema 50 120Ml</c:v>
                </c:pt>
                <c:pt idx="8">
                  <c:v>Edgewell Hawaiian Tropic Sheer Touch Sunscreen Adults Cosmetics Liquido 30 - 49 60Ml</c:v>
                </c:pt>
              </c:strCache>
            </c:strRef>
          </c:cat>
          <c:val>
            <c:numRef>
              <c:f>Sheet1!$B$2:$B$10</c:f>
              <c:numCache>
                <c:formatCode>General</c:formatCode>
                <c:ptCount val="9"/>
                <c:pt idx="0">
                  <c:v>350.0</c:v>
                </c:pt>
                <c:pt idx="1">
                  <c:v>205.0</c:v>
                </c:pt>
                <c:pt idx="2">
                  <c:v>350.0</c:v>
                </c:pt>
                <c:pt idx="3">
                  <c:v>350.0</c:v>
                </c:pt>
                <c:pt idx="4">
                  <c:v>125.0</c:v>
                </c:pt>
                <c:pt idx="5">
                  <c:v>385.0</c:v>
                </c:pt>
                <c:pt idx="6">
                  <c:v>299.0</c:v>
                </c:pt>
                <c:pt idx="7">
                  <c:v>205.0</c:v>
                </c:pt>
                <c:pt idx="8">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9.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Adults Sport Locion 50 180Ml</c:v>
                </c:pt>
                <c:pt idx="11">
                  <c:v>Edgewell Banana Boat Mineral Sunscreen Kids Cosmetics Locion 50 180Ml</c:v>
                </c:pt>
              </c:strCache>
            </c:strRef>
          </c:cat>
          <c:val>
            <c:numRef>
              <c:f>Sheet1!$B$2:$B$13</c:f>
              <c:numCache>
                <c:formatCode>General</c:formatCode>
                <c:ptCount val="12"/>
                <c:pt idx="0">
                  <c:v>310.0</c:v>
                </c:pt>
                <c:pt idx="1">
                  <c:v>105.0</c:v>
                </c:pt>
                <c:pt idx="2">
                  <c:v>305.0</c:v>
                </c:pt>
                <c:pt idx="3">
                  <c:v>349.0</c:v>
                </c:pt>
                <c:pt idx="4">
                  <c:v>305.0</c:v>
                </c:pt>
                <c:pt idx="5">
                  <c:v>385.0</c:v>
                </c:pt>
                <c:pt idx="6">
                  <c:v>305.0</c:v>
                </c:pt>
                <c:pt idx="7">
                  <c:v>385.0</c:v>
                </c:pt>
                <c:pt idx="8">
                  <c:v>305.0</c:v>
                </c:pt>
                <c:pt idx="9">
                  <c:v>310.0</c:v>
                </c:pt>
                <c:pt idx="10">
                  <c:v>249.0</c:v>
                </c:pt>
                <c:pt idx="11">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Kids Sport Sunscreen Kids Cosmetics Crema 50 180Ml</c:v>
                </c:pt>
                <c:pt idx="6">
                  <c:v>Edgewell Banana Boat Mineral Sunscreen Adults Cosmetics Locion 50 60Ml</c:v>
                </c:pt>
                <c:pt idx="7">
                  <c:v>Edgewell Banana Boat Mineral Sunscreen Kids Cosmetics Locion 50 180Ml</c:v>
                </c:pt>
              </c:strCache>
            </c:strRef>
          </c:cat>
          <c:val>
            <c:numRef>
              <c:f>Sheet1!$B$2:$B$9</c:f>
              <c:numCache>
                <c:formatCode>General</c:formatCode>
                <c:ptCount val="8"/>
                <c:pt idx="0">
                  <c:v>310.0</c:v>
                </c:pt>
                <c:pt idx="1">
                  <c:v>305.0</c:v>
                </c:pt>
                <c:pt idx="2">
                  <c:v>349.0</c:v>
                </c:pt>
                <c:pt idx="3">
                  <c:v>350.0</c:v>
                </c:pt>
                <c:pt idx="4">
                  <c:v>305.0</c:v>
                </c:pt>
                <c:pt idx="5">
                  <c:v>305.0</c:v>
                </c:pt>
                <c:pt idx="6">
                  <c:v>310.0</c:v>
                </c:pt>
                <c:pt idx="7">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Liquido 50 6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strCache>
            </c:strRef>
          </c:cat>
          <c:val>
            <c:numRef>
              <c:f>Sheet1!$B$2:$B$5</c:f>
              <c:numCache>
                <c:formatCode>General</c:formatCode>
                <c:ptCount val="4"/>
                <c:pt idx="0">
                  <c:v>305.0</c:v>
                </c:pt>
                <c:pt idx="1">
                  <c:v>335.0</c:v>
                </c:pt>
                <c:pt idx="2">
                  <c:v>385.0</c:v>
                </c:pt>
                <c:pt idx="3">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dLbl>
              <c:idx val="9"/>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Other Sunscreen Adults Cosmetics Crema 50+ 24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Sheer Touch Sunscreen Adults Cosmetics Crema 50 120Ml</c:v>
                </c:pt>
                <c:pt idx="8">
                  <c:v>Edgewell Hawaiian Tropic Sheer Touch Sunscreen Adults Cosmetics Liquido 30 - 49 60Ml</c:v>
                </c:pt>
                <c:pt idx="9">
                  <c:v>Edgewell Hawaiian Tropic Tanning Sunscreen Adults Cosmetics Spray Liquido 15 - 19 220Ml</c:v>
                </c:pt>
              </c:strCache>
            </c:strRef>
          </c:cat>
          <c:val>
            <c:numRef>
              <c:f>Sheet1!$B$2:$B$11</c:f>
              <c:numCache>
                <c:formatCode>General</c:formatCode>
                <c:ptCount val="10"/>
                <c:pt idx="0">
                  <c:v>350.0</c:v>
                </c:pt>
                <c:pt idx="1">
                  <c:v>205.0</c:v>
                </c:pt>
                <c:pt idx="2">
                  <c:v>350.0</c:v>
                </c:pt>
                <c:pt idx="3">
                  <c:v>350.0</c:v>
                </c:pt>
                <c:pt idx="4">
                  <c:v>125.0</c:v>
                </c:pt>
                <c:pt idx="5">
                  <c:v>385.0</c:v>
                </c:pt>
                <c:pt idx="6">
                  <c:v>299.0</c:v>
                </c:pt>
                <c:pt idx="7">
                  <c:v>205.0</c:v>
                </c:pt>
                <c:pt idx="8">
                  <c:v>105.0</c:v>
                </c:pt>
                <c:pt idx="9">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strCache>
            </c:strRef>
          </c:cat>
          <c:val>
            <c:numRef>
              <c:f>Sheet1!$B$2:$B$6</c:f>
              <c:numCache>
                <c:formatCode>General</c:formatCode>
                <c:ptCount val="5"/>
                <c:pt idx="0">
                  <c:v>305.0</c:v>
                </c:pt>
                <c:pt idx="1">
                  <c:v>335.0</c:v>
                </c:pt>
                <c:pt idx="2">
                  <c:v>385.0</c:v>
                </c:pt>
                <c:pt idx="3">
                  <c:v>249.0</c:v>
                </c:pt>
                <c:pt idx="4">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125.0</a:t>
                    </a:r>
                  </a:p>
                </c:rich>
              </c:tx>
              <c:showLegendKey val="0"/>
              <c:showVal val="1"/>
              <c:showCatName val="0"/>
              <c:showSerName val="0"/>
              <c:showPercent val="0"/>
              <c:showBubbleSize val="0"/>
            </c:dLbl>
            <c:dLbl>
              <c:idx val="4"/>
              <c:tx>
                <c:rich>
                  <a:bodyPr/>
                  <a:lstStyle/>
                  <a:p>
                    <a:r>
                      <a:t>385.0</a:t>
                    </a:r>
                  </a:p>
                </c:rich>
              </c:tx>
              <c:showLegendKey val="0"/>
              <c:showVal val="1"/>
              <c:showCatName val="0"/>
              <c:showSerName val="0"/>
              <c:showPercent val="0"/>
              <c:showBubbleSize val="0"/>
            </c:dLbl>
            <c:dLbl>
              <c:idx val="5"/>
              <c:tx>
                <c:rich>
                  <a:bodyPr/>
                  <a:lstStyle/>
                  <a:p>
                    <a:r>
                      <a:t>299.0</a:t>
                    </a:r>
                  </a:p>
                </c:rich>
              </c:tx>
              <c:showLegendKey val="0"/>
              <c:showVal val="1"/>
              <c:showCatName val="0"/>
              <c:showSerName val="0"/>
              <c:showPercent val="0"/>
              <c:showBubbleSize val="0"/>
            </c:dLbl>
            <c:dLbl>
              <c:idx val="6"/>
              <c:tx>
                <c:rich>
                  <a:bodyPr/>
                  <a:lstStyle/>
                  <a:p>
                    <a:r>
                      <a:t>205.0</a:t>
                    </a:r>
                  </a:p>
                </c:rich>
              </c:tx>
              <c:showLegendKey val="0"/>
              <c:showVal val="1"/>
              <c:showCatName val="0"/>
              <c:showSerName val="0"/>
              <c:showPercent val="0"/>
              <c:showBubbleSize val="0"/>
            </c:dLbl>
            <c:dLbl>
              <c:idx val="7"/>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Hawaiian Tropic Other Sunscreen Adults Cosmetics Crema 50+ 240Ml</c:v>
                </c:pt>
                <c:pt idx="1">
                  <c:v>Edgewell Hawaiian Tropic Ozono Sunscreen Adults Cosmetics Liquido 50+ 120Ml</c:v>
                </c:pt>
                <c:pt idx="2">
                  <c:v>Edgewell Hawaiian Tropic Ozono Sunscreen Adults Cosmetics Liquido 50+ 240Ml</c:v>
                </c:pt>
                <c:pt idx="3">
                  <c:v>Edgewell Hawaiian Tropic Ozono Sunscreen Adults Cosmetics Liquido 50+ 90Ml</c:v>
                </c:pt>
                <c:pt idx="4">
                  <c:v>Edgewell Hawaiian Tropic Ozono Sunscreen Adults Cosmetics Spray Liquido 50+ 180Ml</c:v>
                </c:pt>
                <c:pt idx="5">
                  <c:v>Edgewell Hawaiian Tropic Sheer Touch Sunscreen Adults Cosmetics Crema 30 - 49 240Ml</c:v>
                </c:pt>
                <c:pt idx="6">
                  <c:v>Edgewell Hawaiian Tropic Sheer Touch Sunscreen Adults Cosmetics Crema 50 120Ml</c:v>
                </c:pt>
                <c:pt idx="7">
                  <c:v>Edgewell Hawaiian Tropic Sheer Touch Sunscreen Adults Cosmetics Liquido 30 - 49 60Ml</c:v>
                </c:pt>
              </c:strCache>
            </c:strRef>
          </c:cat>
          <c:val>
            <c:numRef>
              <c:f>Sheet1!$B$2:$B$9</c:f>
              <c:numCache>
                <c:formatCode>General</c:formatCode>
                <c:ptCount val="8"/>
                <c:pt idx="0">
                  <c:v>350.0</c:v>
                </c:pt>
                <c:pt idx="1">
                  <c:v>205.0</c:v>
                </c:pt>
                <c:pt idx="2">
                  <c:v>350.0</c:v>
                </c:pt>
                <c:pt idx="3">
                  <c:v>125.0</c:v>
                </c:pt>
                <c:pt idx="4">
                  <c:v>385.0</c:v>
                </c:pt>
                <c:pt idx="5">
                  <c:v>299.0</c:v>
                </c:pt>
                <c:pt idx="6">
                  <c:v>205.0</c:v>
                </c:pt>
                <c:pt idx="7">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7.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Kids Sport Sunscreen Kids Cosmetics Crema 50 180Ml</c:v>
                </c:pt>
                <c:pt idx="6">
                  <c:v>Edgewell Banana Boat Mineral Sunscreen Adults Cosmetics Locion 50 60Ml</c:v>
                </c:pt>
              </c:strCache>
            </c:strRef>
          </c:cat>
          <c:val>
            <c:numRef>
              <c:f>Sheet1!$B$2:$B$8</c:f>
              <c:numCache>
                <c:formatCode>General</c:formatCode>
                <c:ptCount val="7"/>
                <c:pt idx="0">
                  <c:v>310.0</c:v>
                </c:pt>
                <c:pt idx="1">
                  <c:v>305.0</c:v>
                </c:pt>
                <c:pt idx="2">
                  <c:v>349.0</c:v>
                </c:pt>
                <c:pt idx="3">
                  <c:v>367.5</c:v>
                </c:pt>
                <c:pt idx="4">
                  <c:v>305.0</c:v>
                </c:pt>
                <c:pt idx="5">
                  <c:v>305.0</c:v>
                </c:pt>
                <c:pt idx="6">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eauty Care Antioxidant Sunscreen Adults Cosmetics Liquido 50+ 50Ml</c:v>
                </c:pt>
                <c:pt idx="1">
                  <c:v>Edgewell Beauty Care Sensitive Sunscreen Adults Cosmetics Liquido 50+ 50Ml</c:v>
                </c:pt>
              </c:strCache>
            </c:strRef>
          </c:cat>
          <c:val>
            <c:numRef>
              <c:f>Sheet1!$B$2:$B$3</c:f>
              <c:numCache>
                <c:formatCode>General</c:formatCode>
                <c:ptCount val="2"/>
                <c:pt idx="0">
                  <c:v>179.0</c:v>
                </c:pt>
                <c:pt idx="1">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qua Protect Sunscreen Adults Sport Crema 50+ 236Ml</c:v>
                </c:pt>
                <c:pt idx="1">
                  <c:v>Edgewell Banana Boat Dry Balance Sunscreen Adults Sport Crema 50+ 180Ml</c:v>
                </c:pt>
                <c:pt idx="2">
                  <c:v>Edgewell Banana Boat Dry Balance Sunscreen Adults Sport Spray Liquido 50 220Ml</c:v>
                </c:pt>
              </c:strCache>
            </c:strRef>
          </c:cat>
          <c:val>
            <c:numRef>
              <c:f>Sheet1!$B$2:$B$4</c:f>
              <c:numCache>
                <c:formatCode>General</c:formatCode>
                <c:ptCount val="3"/>
                <c:pt idx="0">
                  <c:v>305.0</c:v>
                </c:pt>
                <c:pt idx="1">
                  <c:v>335.0</c:v>
                </c:pt>
                <c:pt idx="2">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125.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Other Sunscreen Adults Cosmetics Crema 50+ 240Ml</c:v>
                </c:pt>
                <c:pt idx="1">
                  <c:v>Edgewell Hawaiian Tropic Ozono Sunscreen Adults Cosmetics Liquido 50+ 240Ml</c:v>
                </c:pt>
                <c:pt idx="2">
                  <c:v>Edgewell Hawaiian Tropic Ozono Sunscreen Adults Cosmetics Liquido 50+ 90Ml</c:v>
                </c:pt>
                <c:pt idx="3">
                  <c:v>Edgewell Hawaiian Tropic Sheer Touch Sunscreen Adults Cosmetics Crema 50 120Ml</c:v>
                </c:pt>
              </c:strCache>
            </c:strRef>
          </c:cat>
          <c:val>
            <c:numRef>
              <c:f>Sheet1!$B$2:$B$5</c:f>
              <c:numCache>
                <c:formatCode>General</c:formatCode>
                <c:ptCount val="4"/>
                <c:pt idx="0">
                  <c:v>350.0</c:v>
                </c:pt>
                <c:pt idx="1">
                  <c:v>350.0</c:v>
                </c:pt>
                <c:pt idx="2">
                  <c:v>125.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dvanced Protection Sunscreen Adults Cosmetics Liquido 50+ 240Ml</c:v>
                </c:pt>
                <c:pt idx="1">
                  <c:v>Edgewell Banana Boat Aqua Protect Sunscreen Adults Cosmetics Crema 50+ 236Ml</c:v>
                </c:pt>
                <c:pt idx="2">
                  <c:v>Edgewell Banana Boat Banded Pack Banded Pack 2X Sunscreen Multi 50+ 236Ml</c:v>
                </c:pt>
              </c:strCache>
            </c:strRef>
          </c:cat>
          <c:val>
            <c:numRef>
              <c:f>Sheet1!$B$2:$B$4</c:f>
              <c:numCache>
                <c:formatCode>General</c:formatCode>
                <c:ptCount val="3"/>
                <c:pt idx="0">
                  <c:v>310.0</c:v>
                </c:pt>
                <c:pt idx="1">
                  <c:v>305.0</c:v>
                </c:pt>
                <c:pt idx="2">
                  <c:v>3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eauty Care Sensitive Sunscreen Adults Cosmetics Liquido 50+ 50Ml</c:v>
                </c:pt>
              </c:strCache>
            </c:strRef>
          </c:cat>
          <c:val>
            <c:numRef>
              <c:f>Sheet1!$B$2:$B$2</c:f>
              <c:numCache>
                <c:formatCode>General</c:formatCode>
                <c:ptCount val="1"/>
                <c:pt idx="0">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qua Protect Sunscreen Adults Sport Crema 50+ 236Ml</c:v>
                </c:pt>
                <c:pt idx="1">
                  <c:v>Edgewell Banana Boat Dry Balance Sunscreen Adults Sport Crema 50+ 180Ml</c:v>
                </c:pt>
              </c:strCache>
            </c:strRef>
          </c:cat>
          <c:val>
            <c:numRef>
              <c:f>Sheet1!$B$2:$B$3</c:f>
              <c:numCache>
                <c:formatCode>General</c:formatCode>
                <c:ptCount val="2"/>
                <c:pt idx="0">
                  <c:v>305.0</c:v>
                </c:pt>
                <c:pt idx="1">
                  <c:v>33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7.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Kids Sport Sunscreen Kids Cosmetics Crema 50 180Ml</c:v>
                </c:pt>
                <c:pt idx="6">
                  <c:v>Edgewell Banana Boat Mineral Sunscreen Kids Cosmetics Locion 50 180Ml</c:v>
                </c:pt>
              </c:strCache>
            </c:strRef>
          </c:cat>
          <c:val>
            <c:numRef>
              <c:f>Sheet1!$B$2:$B$8</c:f>
              <c:numCache>
                <c:formatCode>General</c:formatCode>
                <c:ptCount val="7"/>
                <c:pt idx="0">
                  <c:v>310.0</c:v>
                </c:pt>
                <c:pt idx="1">
                  <c:v>305.0</c:v>
                </c:pt>
                <c:pt idx="2">
                  <c:v>349.0</c:v>
                </c:pt>
                <c:pt idx="3">
                  <c:v>367.5</c:v>
                </c:pt>
                <c:pt idx="4">
                  <c:v>305.0</c:v>
                </c:pt>
                <c:pt idx="5">
                  <c:v>305.0</c:v>
                </c:pt>
                <c:pt idx="6">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1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205.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12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299.0</a:t>
                    </a:r>
                  </a:p>
                </c:rich>
              </c:tx>
              <c:showLegendKey val="0"/>
              <c:showVal val="1"/>
              <c:showCatName val="0"/>
              <c:showSerName val="0"/>
              <c:showPercent val="0"/>
              <c:showBubbleSize val="0"/>
            </c:dLbl>
            <c:dLbl>
              <c:idx val="10"/>
              <c:tx>
                <c:rich>
                  <a:bodyPr/>
                  <a:lstStyle/>
                  <a:p>
                    <a:r>
                      <a:t>205.0</a:t>
                    </a:r>
                  </a:p>
                </c:rich>
              </c:tx>
              <c:showLegendKey val="0"/>
              <c:showVal val="1"/>
              <c:showCatName val="0"/>
              <c:showSerName val="0"/>
              <c:showPercent val="0"/>
              <c:showBubbleSize val="0"/>
            </c:dLbl>
            <c:dLbl>
              <c:idx val="11"/>
              <c:tx>
                <c:rich>
                  <a:bodyPr/>
                  <a:lstStyle/>
                  <a:p>
                    <a:r>
                      <a:t>105.0</a:t>
                    </a:r>
                  </a:p>
                </c:rich>
              </c:tx>
              <c:showLegendKey val="0"/>
              <c:showVal val="1"/>
              <c:showCatName val="0"/>
              <c:showSerName val="0"/>
              <c:showPercent val="0"/>
              <c:showBubbleSize val="0"/>
            </c:dLbl>
            <c:dLbl>
              <c:idx val="1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Hawaiian Tropic After Sun After Sun Adults Cosmetics Gel 0 - 5 240Ml</c:v>
                </c:pt>
                <c:pt idx="1">
                  <c:v>Edgewell Hawaiian Tropic Carrot Tanning Adults Cosmetics Crema 10 - 14 240Ml</c:v>
                </c:pt>
                <c:pt idx="2">
                  <c:v>Edgewell Hawaiian Tropic Island Sport Sunscreen Adults Sport Liquido 50 60Ml</c:v>
                </c:pt>
                <c:pt idx="3">
                  <c:v>Edgewell Hawaiian Tropic Other Sunscreen Adults Cosmetics Crema 50+ 240Ml</c:v>
                </c:pt>
                <c:pt idx="4">
                  <c:v>Edgewell Hawaiian Tropic Ozono Sunscreen Adults Cosmetics Liquido 50+ 120Ml</c:v>
                </c:pt>
                <c:pt idx="5">
                  <c:v>Edgewell Hawaiian Tropic Ozono Sunscreen Adults Cosmetics Liquido 50+ 180Ml</c:v>
                </c:pt>
                <c:pt idx="6">
                  <c:v>Edgewell Hawaiian Tropic Ozono Sunscreen Adults Cosmetics Liquido 50+ 240Ml</c:v>
                </c:pt>
                <c:pt idx="7">
                  <c:v>Edgewell Hawaiian Tropic Ozono Sunscreen Adults Cosmetics Liquido 50+ 90Ml</c:v>
                </c:pt>
                <c:pt idx="8">
                  <c:v>Edgewell Hawaiian Tropic Ozono Sunscreen Adults Cosmetics Spray Liquido 50+ 180Ml</c:v>
                </c:pt>
                <c:pt idx="9">
                  <c:v>Edgewell Hawaiian Tropic Sheer Touch Sunscreen Adults Cosmetics Crema 30 - 49 240Ml</c:v>
                </c:pt>
                <c:pt idx="10">
                  <c:v>Edgewell Hawaiian Tropic Sheer Touch Sunscreen Adults Cosmetics Crema 50 120Ml</c:v>
                </c:pt>
                <c:pt idx="11">
                  <c:v>Edgewell Hawaiian Tropic Sheer Touch Sunscreen Adults Cosmetics Liquido 30 - 49 60Ml</c:v>
                </c:pt>
                <c:pt idx="12">
                  <c:v>Edgewell Hawaiian Tropic Tanning Sunscreen Adults Cosmetics Spray Liquido 15 - 19 220Ml</c:v>
                </c:pt>
              </c:strCache>
            </c:strRef>
          </c:cat>
          <c:val>
            <c:numRef>
              <c:f>Sheet1!$B$2:$B$14</c:f>
              <c:numCache>
                <c:formatCode>General</c:formatCode>
                <c:ptCount val="13"/>
                <c:pt idx="0">
                  <c:v>299.0</c:v>
                </c:pt>
                <c:pt idx="1">
                  <c:v>299.0</c:v>
                </c:pt>
                <c:pt idx="2">
                  <c:v>105.0</c:v>
                </c:pt>
                <c:pt idx="3">
                  <c:v>350.0</c:v>
                </c:pt>
                <c:pt idx="4">
                  <c:v>205.0</c:v>
                </c:pt>
                <c:pt idx="5">
                  <c:v>350.0</c:v>
                </c:pt>
                <c:pt idx="6">
                  <c:v>350.0</c:v>
                </c:pt>
                <c:pt idx="7">
                  <c:v>125.0</c:v>
                </c:pt>
                <c:pt idx="8">
                  <c:v>385.0</c:v>
                </c:pt>
                <c:pt idx="9">
                  <c:v>299.0</c:v>
                </c:pt>
                <c:pt idx="10">
                  <c:v>205.0</c:v>
                </c:pt>
                <c:pt idx="11">
                  <c:v>105.0</c:v>
                </c:pt>
                <c:pt idx="1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Liquido 50 6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qua Protect Sunscreen Adults Sport Crema 50+ 236Ml</c:v>
                </c:pt>
                <c:pt idx="1">
                  <c:v>Edgewell Banana Boat Dry Balance Sunscreen Adults Sport Crema 50+ 180Ml</c:v>
                </c:pt>
                <c:pt idx="2">
                  <c:v>Edgewell Banana Boat Dry Balance Sunscreen Adults Sport Spray Liquido 50 220Ml</c:v>
                </c:pt>
              </c:strCache>
            </c:strRef>
          </c:cat>
          <c:val>
            <c:numRef>
              <c:f>Sheet1!$B$2:$B$4</c:f>
              <c:numCache>
                <c:formatCode>General</c:formatCode>
                <c:ptCount val="3"/>
                <c:pt idx="0">
                  <c:v>305.0</c:v>
                </c:pt>
                <c:pt idx="1">
                  <c:v>335.0</c:v>
                </c:pt>
                <c:pt idx="2">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719.0</a:t>
                    </a:r>
                  </a:p>
                </c:rich>
              </c:tx>
              <c:showLegendKey val="0"/>
              <c:showVal val="1"/>
              <c:showCatName val="0"/>
              <c:showSerName val="0"/>
              <c:showPercent val="0"/>
              <c:showBubbleSize val="0"/>
            </c:dLbl>
            <c:dLbl>
              <c:idx val="5"/>
              <c:tx>
                <c:rich>
                  <a:bodyPr/>
                  <a:lstStyle/>
                  <a:p>
                    <a:r>
                      <a:t>714.63</a:t>
                    </a:r>
                  </a:p>
                </c:rich>
              </c:tx>
              <c:showLegendKey val="0"/>
              <c:showVal val="1"/>
              <c:showCatName val="0"/>
              <c:showSerName val="0"/>
              <c:showPercent val="0"/>
              <c:showBubbleSize val="0"/>
            </c:dLbl>
            <c:dLbl>
              <c:idx val="6"/>
              <c:tx>
                <c:rich>
                  <a:bodyPr/>
                  <a:lstStyle/>
                  <a:p>
                    <a:r>
                      <a:t>616.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290.0</a:t>
                    </a:r>
                  </a:p>
                </c:rich>
              </c:tx>
              <c:showLegendKey val="0"/>
              <c:showVal val="1"/>
              <c:showCatName val="0"/>
              <c:showSerName val="0"/>
              <c:showPercent val="0"/>
              <c:showBubbleSize val="0"/>
            </c:dLbl>
            <c:dLbl>
              <c:idx val="9"/>
              <c:tx>
                <c:rich>
                  <a:bodyPr/>
                  <a:lstStyle/>
                  <a:p>
                    <a:r>
                      <a:t>502.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dLbl>
              <c:idx val="11"/>
              <c:tx>
                <c:rich>
                  <a:bodyPr/>
                  <a:lstStyle/>
                  <a:p>
                    <a:r>
                      <a:t>92.0</a:t>
                    </a:r>
                  </a:p>
                </c:rich>
              </c:tx>
              <c:showLegendKey val="0"/>
              <c:showVal val="1"/>
              <c:showCatName val="0"/>
              <c:showSerName val="0"/>
              <c:showPercent val="0"/>
              <c:showBubbleSize val="0"/>
            </c:dLbl>
            <c:dLbl>
              <c:idx val="12"/>
              <c:tx>
                <c:rich>
                  <a:bodyPr/>
                  <a:lstStyle/>
                  <a:p>
                    <a:r>
                      <a:t>254.33</a:t>
                    </a:r>
                  </a:p>
                </c:rich>
              </c:tx>
              <c:showLegendKey val="0"/>
              <c:showVal val="1"/>
              <c:showCatName val="0"/>
              <c:showSerName val="0"/>
              <c:showPercent val="0"/>
              <c:showBubbleSize val="0"/>
            </c:dLbl>
            <c:dLbl>
              <c:idx val="13"/>
              <c:tx>
                <c:rich>
                  <a:bodyPr/>
                  <a:lstStyle/>
                  <a:p>
                    <a:r>
                      <a:t>319.0</a:t>
                    </a:r>
                  </a:p>
                </c:rich>
              </c:tx>
              <c:showLegendKey val="0"/>
              <c:showVal val="1"/>
              <c:showCatName val="0"/>
              <c:showSerName val="0"/>
              <c:showPercent val="0"/>
              <c:showBubbleSize val="0"/>
            </c:dLbl>
            <c:dLbl>
              <c:idx val="14"/>
              <c:tx>
                <c:rich>
                  <a:bodyPr/>
                  <a:lstStyle/>
                  <a:p>
                    <a:r>
                      <a:t>220.0</a:t>
                    </a:r>
                  </a:p>
                </c:rich>
              </c:tx>
              <c:showLegendKey val="0"/>
              <c:showVal val="1"/>
              <c:showCatName val="0"/>
              <c:showSerName val="0"/>
              <c:showPercent val="0"/>
              <c:showBubbleSize val="0"/>
            </c:dLbl>
            <c:dLbl>
              <c:idx val="15"/>
              <c:tx>
                <c:rich>
                  <a:bodyPr/>
                  <a:lstStyle/>
                  <a:p>
                    <a:r>
                      <a:t>286.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pt idx="4">
                  <c:v>Isdin Isdin Sunscreen Adults Derma Crema 30 50Ml</c:v>
                </c:pt>
                <c:pt idx="5">
                  <c:v>Isdin Isdin Sunscreen Adults Derma Crema 50 50Ml</c:v>
                </c:pt>
                <c:pt idx="6">
                  <c:v>Isdin Isdin Sunscreen Adults Derma Crema 50+ 50Ml</c:v>
                </c:pt>
                <c:pt idx="7">
                  <c:v>J&amp;J Neutrogena Sunscreen Adults Derma Crema 50 120Ml</c:v>
                </c:pt>
                <c:pt idx="8">
                  <c:v>J&amp;J Neutrogena Sunscreen Adults Derma Crema 50 200Ml</c:v>
                </c:pt>
                <c:pt idx="9">
                  <c:v>J&amp;J Neutrogena Sunscreen Adults Derma Crema 50 40Ml</c:v>
                </c:pt>
                <c:pt idx="10">
                  <c:v>J&amp;J Neutrogena Sunscreen Adults Derma Crema 50+ 40Ml</c:v>
                </c:pt>
                <c:pt idx="11">
                  <c:v>Beiersdorf Nivea After Sun Adults Cosmetics Crema 0 - 5 200Ml</c:v>
                </c:pt>
                <c:pt idx="12">
                  <c:v>Beiersdorf Nivea Sunscreen Adults Cosmetics Crema 50 50Ml</c:v>
                </c:pt>
                <c:pt idx="13">
                  <c:v>Beiersdorf Nivea Sunscreen Adults Cosmetics Crema 50+ 200Ml</c:v>
                </c:pt>
                <c:pt idx="14">
                  <c:v>Beiersdorf Nivea Sunscreen Adults Cosmetics Crema 50+ 40Ml</c:v>
                </c:pt>
                <c:pt idx="15">
                  <c:v>Beiersdorf Nivea Sunscreen Adults Cosmetics Crema 50+ 50Ml</c:v>
                </c:pt>
              </c:strCache>
            </c:strRef>
          </c:cat>
          <c:val>
            <c:numRef>
              <c:f>Sheet1!$B$2:$B$17</c:f>
              <c:numCache>
                <c:formatCode>General</c:formatCode>
                <c:ptCount val="16"/>
                <c:pt idx="0">
                  <c:v>305.0</c:v>
                </c:pt>
                <c:pt idx="1">
                  <c:v>305.0</c:v>
                </c:pt>
                <c:pt idx="2">
                  <c:v>335.0</c:v>
                </c:pt>
                <c:pt idx="3">
                  <c:v>305.0</c:v>
                </c:pt>
                <c:pt idx="4">
                  <c:v>719.0</c:v>
                </c:pt>
                <c:pt idx="5">
                  <c:v>714.63</c:v>
                </c:pt>
                <c:pt idx="6">
                  <c:v>616.0</c:v>
                </c:pt>
                <c:pt idx="7">
                  <c:v>205.0</c:v>
                </c:pt>
                <c:pt idx="8">
                  <c:v>290.0</c:v>
                </c:pt>
                <c:pt idx="9">
                  <c:v>502.0</c:v>
                </c:pt>
                <c:pt idx="10">
                  <c:v>315.0</c:v>
                </c:pt>
                <c:pt idx="11">
                  <c:v>92.0</c:v>
                </c:pt>
                <c:pt idx="12">
                  <c:v>254.33</c:v>
                </c:pt>
                <c:pt idx="13">
                  <c:v>319.0</c:v>
                </c:pt>
                <c:pt idx="14">
                  <c:v>220.0</c:v>
                </c:pt>
                <c:pt idx="15">
                  <c:v>28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dLbl>
              <c:idx val="6"/>
              <c:tx>
                <c:rich>
                  <a:bodyPr/>
                  <a:lstStyle/>
                  <a:p>
                    <a:r>
                      <a:t>220.0</a:t>
                    </a:r>
                  </a:p>
                </c:rich>
              </c:tx>
              <c:showLegendKey val="0"/>
              <c:showVal val="1"/>
              <c:showCatName val="0"/>
              <c:showSerName val="0"/>
              <c:showPercent val="0"/>
              <c:showBubbleSize val="0"/>
            </c:dLbl>
            <c:dLbl>
              <c:idx val="7"/>
              <c:tx>
                <c:rich>
                  <a:bodyPr/>
                  <a:lstStyle/>
                  <a:p>
                    <a:r>
                      <a:t>278.0</a:t>
                    </a:r>
                  </a:p>
                </c:rich>
              </c:tx>
              <c:showLegendKey val="0"/>
              <c:showVal val="1"/>
              <c:showCatName val="0"/>
              <c:showSerName val="0"/>
              <c:showPercent val="0"/>
              <c:showBubbleSize val="0"/>
            </c:dLbl>
            <c:dLbl>
              <c:idx val="8"/>
              <c:tx>
                <c:rich>
                  <a:bodyPr/>
                  <a:lstStyle/>
                  <a:p>
                    <a:r>
                      <a:t>393.9</a:t>
                    </a:r>
                  </a:p>
                </c:rich>
              </c:tx>
              <c:showLegendKey val="0"/>
              <c:showVal val="1"/>
              <c:showCatName val="0"/>
              <c:showSerName val="0"/>
              <c:showPercent val="0"/>
              <c:showBubbleSize val="0"/>
            </c:dLbl>
            <c:dLbl>
              <c:idx val="9"/>
              <c:tx>
                <c:rich>
                  <a:bodyPr/>
                  <a:lstStyle/>
                  <a:p>
                    <a:r>
                      <a:t>188.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195.0</a:t>
                    </a:r>
                  </a:p>
                </c:rich>
              </c:tx>
              <c:showLegendKey val="0"/>
              <c:showVal val="1"/>
              <c:showCatName val="0"/>
              <c:showSerName val="0"/>
              <c:showPercent val="0"/>
              <c:showBubbleSize val="0"/>
            </c:dLbl>
            <c:dLbl>
              <c:idx val="12"/>
              <c:tx>
                <c:rich>
                  <a:bodyPr/>
                  <a:lstStyle/>
                  <a:p>
                    <a:r>
                      <a:t>265.0</a:t>
                    </a:r>
                  </a:p>
                </c:rich>
              </c:tx>
              <c:showLegendKey val="0"/>
              <c:showVal val="1"/>
              <c:showCatName val="0"/>
              <c:showSerName val="0"/>
              <c:showPercent val="0"/>
              <c:showBubbleSize val="0"/>
            </c:dLbl>
            <c:dLbl>
              <c:idx val="13"/>
              <c:tx>
                <c:rich>
                  <a:bodyPr/>
                  <a:lstStyle/>
                  <a:p>
                    <a:r>
                      <a:t>861.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Island Sport Sunscreen Adults Sport Liquido 50 6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Sheer Touch Sunscreen Adults Cosmetics Liquido 30 - 49 60Ml</c:v>
                </c:pt>
                <c:pt idx="6">
                  <c:v>L'Oreal Loreal Paris Sunscreen Adults Derma Liquido 50+ 40Ml</c:v>
                </c:pt>
                <c:pt idx="7">
                  <c:v>Beiersdorf Nivea Sunscreen Adults Cosmetics Liquido 30 - 49 200Ml</c:v>
                </c:pt>
                <c:pt idx="8">
                  <c:v>Beiersdorf Nivea Sunscreen Adults Cosmetics Liquido 50 200Ml</c:v>
                </c:pt>
                <c:pt idx="9">
                  <c:v>Beiersdorf Nivea Sunscreen Adults Cosmetics Liquido 50+ 125Ml</c:v>
                </c:pt>
                <c:pt idx="10">
                  <c:v>Beiersdorf Nivea Sunscreen Kids Cosmetics Liquido 50+ 200Ml</c:v>
                </c:pt>
                <c:pt idx="11">
                  <c:v>Others Fabricante Unif. Others Marca Unif. After Sun Adults Cosmetics Liquido 0 - 5 165Ml</c:v>
                </c:pt>
                <c:pt idx="12">
                  <c:v>Others Fabricante Unif. Others Marca Unif. Sunscreen Adults Cosmetics Liquido 30 50Ml</c:v>
                </c:pt>
                <c:pt idx="13">
                  <c:v>Others Fabricante Unif. Others Marca Unif. Sunscreen Adults Derma Liquido 50+ 50Ml</c:v>
                </c:pt>
              </c:strCache>
            </c:strRef>
          </c:cat>
          <c:val>
            <c:numRef>
              <c:f>Sheet1!$B$2:$B$15</c:f>
              <c:numCache>
                <c:formatCode>General</c:formatCode>
                <c:ptCount val="14"/>
                <c:pt idx="0">
                  <c:v>105.0</c:v>
                </c:pt>
                <c:pt idx="1">
                  <c:v>205.0</c:v>
                </c:pt>
                <c:pt idx="2">
                  <c:v>350.0</c:v>
                </c:pt>
                <c:pt idx="3">
                  <c:v>350.0</c:v>
                </c:pt>
                <c:pt idx="4">
                  <c:v>125.0</c:v>
                </c:pt>
                <c:pt idx="5">
                  <c:v>105.0</c:v>
                </c:pt>
                <c:pt idx="6">
                  <c:v>220.0</c:v>
                </c:pt>
                <c:pt idx="7">
                  <c:v>278.0</c:v>
                </c:pt>
                <c:pt idx="8">
                  <c:v>393.9</c:v>
                </c:pt>
                <c:pt idx="9">
                  <c:v>188.0</c:v>
                </c:pt>
                <c:pt idx="10">
                  <c:v>310.0</c:v>
                </c:pt>
                <c:pt idx="11">
                  <c:v>195.0</c:v>
                </c:pt>
                <c:pt idx="12">
                  <c:v>265.0</c:v>
                </c:pt>
                <c:pt idx="13">
                  <c:v>861.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220.0</a:t>
                    </a:r>
                  </a:p>
                </c:rich>
              </c:tx>
              <c:showLegendKey val="0"/>
              <c:showVal val="1"/>
              <c:showCatName val="0"/>
              <c:showSerName val="0"/>
              <c:showPercent val="0"/>
              <c:showBubbleSize val="0"/>
            </c:dLbl>
            <c:dLbl>
              <c:idx val="2"/>
              <c:tx>
                <c:rich>
                  <a:bodyPr/>
                  <a:lstStyle/>
                  <a:p>
                    <a:r>
                      <a:t>278.0</a:t>
                    </a:r>
                  </a:p>
                </c:rich>
              </c:tx>
              <c:showLegendKey val="0"/>
              <c:showVal val="1"/>
              <c:showCatName val="0"/>
              <c:showSerName val="0"/>
              <c:showPercent val="0"/>
              <c:showBubbleSize val="0"/>
            </c:dLbl>
            <c:dLbl>
              <c:idx val="3"/>
              <c:tx>
                <c:rich>
                  <a:bodyPr/>
                  <a:lstStyle/>
                  <a:p>
                    <a:r>
                      <a:t>393.9</a:t>
                    </a:r>
                  </a:p>
                </c:rich>
              </c:tx>
              <c:showLegendKey val="0"/>
              <c:showVal val="1"/>
              <c:showCatName val="0"/>
              <c:showSerName val="0"/>
              <c:showPercent val="0"/>
              <c:showBubbleSize val="0"/>
            </c:dLbl>
            <c:dLbl>
              <c:idx val="4"/>
              <c:tx>
                <c:rich>
                  <a:bodyPr/>
                  <a:lstStyle/>
                  <a:p>
                    <a:r>
                      <a:t>188.0</a:t>
                    </a:r>
                  </a:p>
                </c:rich>
              </c:tx>
              <c:showLegendKey val="0"/>
              <c:showVal val="1"/>
              <c:showCatName val="0"/>
              <c:showSerName val="0"/>
              <c:showPercent val="0"/>
              <c:showBubbleSize val="0"/>
            </c:dLbl>
            <c:dLbl>
              <c:idx val="5"/>
              <c:tx>
                <c:rich>
                  <a:bodyPr/>
                  <a:lstStyle/>
                  <a:p>
                    <a:r>
                      <a:t>310.0</a:t>
                    </a:r>
                  </a:p>
                </c:rich>
              </c:tx>
              <c:showLegendKey val="0"/>
              <c:showVal val="1"/>
              <c:showCatName val="0"/>
              <c:showSerName val="0"/>
              <c:showPercent val="0"/>
              <c:showBubbleSize val="0"/>
            </c:dLbl>
            <c:dLbl>
              <c:idx val="6"/>
              <c:tx>
                <c:rich>
                  <a:bodyPr/>
                  <a:lstStyle/>
                  <a:p>
                    <a:r>
                      <a:t>195.0</a:t>
                    </a:r>
                  </a:p>
                </c:rich>
              </c:tx>
              <c:showLegendKey val="0"/>
              <c:showVal val="1"/>
              <c:showCatName val="0"/>
              <c:showSerName val="0"/>
              <c:showPercent val="0"/>
              <c:showBubbleSize val="0"/>
            </c:dLbl>
            <c:dLbl>
              <c:idx val="7"/>
              <c:tx>
                <c:rich>
                  <a:bodyPr/>
                  <a:lstStyle/>
                  <a:p>
                    <a:r>
                      <a:t>265.0</a:t>
                    </a:r>
                  </a:p>
                </c:rich>
              </c:tx>
              <c:showLegendKey val="0"/>
              <c:showVal val="1"/>
              <c:showCatName val="0"/>
              <c:showSerName val="0"/>
              <c:showPercent val="0"/>
              <c:showBubbleSize val="0"/>
            </c:dLbl>
            <c:dLbl>
              <c:idx val="8"/>
              <c:tx>
                <c:rich>
                  <a:bodyPr/>
                  <a:lstStyle/>
                  <a:p>
                    <a:r>
                      <a:t>861.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Advanced Protection Sunscreen Adults Cosmetics Liquido 50+ 240Ml</c:v>
                </c:pt>
                <c:pt idx="1">
                  <c:v>L'Oreal Loreal Paris Sunscreen Adults Derma Liquido 50+ 40Ml</c:v>
                </c:pt>
                <c:pt idx="2">
                  <c:v>Beiersdorf Nivea Sunscreen Adults Cosmetics Liquido 30 - 49 200Ml</c:v>
                </c:pt>
                <c:pt idx="3">
                  <c:v>Beiersdorf Nivea Sunscreen Adults Cosmetics Liquido 50 200Ml</c:v>
                </c:pt>
                <c:pt idx="4">
                  <c:v>Beiersdorf Nivea Sunscreen Adults Cosmetics Liquido 50+ 125Ml</c:v>
                </c:pt>
                <c:pt idx="5">
                  <c:v>Beiersdorf Nivea Sunscreen Kids Cosmetics Liquido 50+ 200Ml</c:v>
                </c:pt>
                <c:pt idx="6">
                  <c:v>Others Fabricante Unif. Others Marca Unif. After Sun Adults Cosmetics Liquido 0 - 5 165Ml</c:v>
                </c:pt>
                <c:pt idx="7">
                  <c:v>Others Fabricante Unif. Others Marca Unif. Sunscreen Adults Cosmetics Liquido 30 50Ml</c:v>
                </c:pt>
                <c:pt idx="8">
                  <c:v>Others Fabricante Unif. Others Marca Unif. Sunscreen Adults Derma Liquido 50+ 50Ml</c:v>
                </c:pt>
              </c:strCache>
            </c:strRef>
          </c:cat>
          <c:val>
            <c:numRef>
              <c:f>Sheet1!$B$2:$B$10</c:f>
              <c:numCache>
                <c:formatCode>General</c:formatCode>
                <c:ptCount val="9"/>
                <c:pt idx="0">
                  <c:v>310.0</c:v>
                </c:pt>
                <c:pt idx="1">
                  <c:v>220.0</c:v>
                </c:pt>
                <c:pt idx="2">
                  <c:v>278.0</c:v>
                </c:pt>
                <c:pt idx="3">
                  <c:v>393.9</c:v>
                </c:pt>
                <c:pt idx="4">
                  <c:v>188.0</c:v>
                </c:pt>
                <c:pt idx="5">
                  <c:v>310.0</c:v>
                </c:pt>
                <c:pt idx="6">
                  <c:v>195.0</c:v>
                </c:pt>
                <c:pt idx="7">
                  <c:v>265.0</c:v>
                </c:pt>
                <c:pt idx="8">
                  <c:v>861.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220.0</a:t>
                    </a:r>
                  </a:p>
                </c:rich>
              </c:tx>
              <c:showLegendKey val="0"/>
              <c:showVal val="1"/>
              <c:showCatName val="0"/>
              <c:showSerName val="0"/>
              <c:showPercent val="0"/>
              <c:showBubbleSize val="0"/>
            </c:dLbl>
            <c:dLbl>
              <c:idx val="5"/>
              <c:tx>
                <c:rich>
                  <a:bodyPr/>
                  <a:lstStyle/>
                  <a:p>
                    <a:r>
                      <a:t>278.0</a:t>
                    </a:r>
                  </a:p>
                </c:rich>
              </c:tx>
              <c:showLegendKey val="0"/>
              <c:showVal val="1"/>
              <c:showCatName val="0"/>
              <c:showSerName val="0"/>
              <c:showPercent val="0"/>
              <c:showBubbleSize val="0"/>
            </c:dLbl>
            <c:dLbl>
              <c:idx val="6"/>
              <c:tx>
                <c:rich>
                  <a:bodyPr/>
                  <a:lstStyle/>
                  <a:p>
                    <a:r>
                      <a:t>393.9</a:t>
                    </a:r>
                  </a:p>
                </c:rich>
              </c:tx>
              <c:showLegendKey val="0"/>
              <c:showVal val="1"/>
              <c:showCatName val="0"/>
              <c:showSerName val="0"/>
              <c:showPercent val="0"/>
              <c:showBubbleSize val="0"/>
            </c:dLbl>
            <c:dLbl>
              <c:idx val="7"/>
              <c:tx>
                <c:rich>
                  <a:bodyPr/>
                  <a:lstStyle/>
                  <a:p>
                    <a:r>
                      <a:t>188.0</a:t>
                    </a:r>
                  </a:p>
                </c:rich>
              </c:tx>
              <c:showLegendKey val="0"/>
              <c:showVal val="1"/>
              <c:showCatName val="0"/>
              <c:showSerName val="0"/>
              <c:showPercent val="0"/>
              <c:showBubbleSize val="0"/>
            </c:dLbl>
            <c:dLbl>
              <c:idx val="8"/>
              <c:tx>
                <c:rich>
                  <a:bodyPr/>
                  <a:lstStyle/>
                  <a:p>
                    <a:r>
                      <a:t>310.0</a:t>
                    </a:r>
                  </a:p>
                </c:rich>
              </c:tx>
              <c:showLegendKey val="0"/>
              <c:showVal val="1"/>
              <c:showCatName val="0"/>
              <c:showSerName val="0"/>
              <c:showPercent val="0"/>
              <c:showBubbleSize val="0"/>
            </c:dLbl>
            <c:dLbl>
              <c:idx val="9"/>
              <c:tx>
                <c:rich>
                  <a:bodyPr/>
                  <a:lstStyle/>
                  <a:p>
                    <a:r>
                      <a:t>195.0</a:t>
                    </a:r>
                  </a:p>
                </c:rich>
              </c:tx>
              <c:showLegendKey val="0"/>
              <c:showVal val="1"/>
              <c:showCatName val="0"/>
              <c:showSerName val="0"/>
              <c:showPercent val="0"/>
              <c:showBubbleSize val="0"/>
            </c:dLbl>
            <c:dLbl>
              <c:idx val="10"/>
              <c:tx>
                <c:rich>
                  <a:bodyPr/>
                  <a:lstStyle/>
                  <a:p>
                    <a:r>
                      <a:t>265.0</a:t>
                    </a:r>
                  </a:p>
                </c:rich>
              </c:tx>
              <c:showLegendKey val="0"/>
              <c:showVal val="1"/>
              <c:showCatName val="0"/>
              <c:showSerName val="0"/>
              <c:showPercent val="0"/>
              <c:showBubbleSize val="0"/>
            </c:dLbl>
            <c:dLbl>
              <c:idx val="11"/>
              <c:tx>
                <c:rich>
                  <a:bodyPr/>
                  <a:lstStyle/>
                  <a:p>
                    <a:r>
                      <a:t>861.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pt idx="4">
                  <c:v>L'Oreal Loreal Paris Sunscreen Adults Derma Liquido 50+ 40Ml</c:v>
                </c:pt>
                <c:pt idx="5">
                  <c:v>Beiersdorf Nivea Sunscreen Adults Cosmetics Liquido 30 - 49 200Ml</c:v>
                </c:pt>
                <c:pt idx="6">
                  <c:v>Beiersdorf Nivea Sunscreen Adults Cosmetics Liquido 50 200Ml</c:v>
                </c:pt>
                <c:pt idx="7">
                  <c:v>Beiersdorf Nivea Sunscreen Adults Cosmetics Liquido 50+ 125Ml</c:v>
                </c:pt>
                <c:pt idx="8">
                  <c:v>Beiersdorf Nivea Sunscreen Kids Cosmetics Liquido 50+ 200Ml</c:v>
                </c:pt>
                <c:pt idx="9">
                  <c:v>Others Fabricante Unif. Others Marca Unif. After Sun Adults Cosmetics Liquido 0 - 5 165Ml</c:v>
                </c:pt>
                <c:pt idx="10">
                  <c:v>Others Fabricante Unif. Others Marca Unif. Sunscreen Adults Cosmetics Liquido 30 50Ml</c:v>
                </c:pt>
                <c:pt idx="11">
                  <c:v>Others Fabricante Unif. Others Marca Unif. Sunscreen Adults Derma Liquido 50+ 50Ml</c:v>
                </c:pt>
              </c:strCache>
            </c:strRef>
          </c:cat>
          <c:val>
            <c:numRef>
              <c:f>Sheet1!$B$2:$B$13</c:f>
              <c:numCache>
                <c:formatCode>General</c:formatCode>
                <c:ptCount val="12"/>
                <c:pt idx="0">
                  <c:v>240.0</c:v>
                </c:pt>
                <c:pt idx="1">
                  <c:v>179.0</c:v>
                </c:pt>
                <c:pt idx="2">
                  <c:v>179.0</c:v>
                </c:pt>
                <c:pt idx="3">
                  <c:v>179.0</c:v>
                </c:pt>
                <c:pt idx="4">
                  <c:v>220.0</c:v>
                </c:pt>
                <c:pt idx="5">
                  <c:v>278.0</c:v>
                </c:pt>
                <c:pt idx="6">
                  <c:v>393.9</c:v>
                </c:pt>
                <c:pt idx="7">
                  <c:v>188.0</c:v>
                </c:pt>
                <c:pt idx="8">
                  <c:v>310.0</c:v>
                </c:pt>
                <c:pt idx="9">
                  <c:v>195.0</c:v>
                </c:pt>
                <c:pt idx="10">
                  <c:v>265.0</c:v>
                </c:pt>
                <c:pt idx="11">
                  <c:v>861.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699.0</a:t>
                    </a:r>
                  </a:p>
                </c:rich>
              </c:tx>
              <c:showLegendKey val="0"/>
              <c:showVal val="1"/>
              <c:showCatName val="0"/>
              <c:showSerName val="0"/>
              <c:showPercent val="0"/>
              <c:showBubbleSize val="0"/>
            </c:dLbl>
            <c:dLbl>
              <c:idx val="2"/>
              <c:tx>
                <c:rich>
                  <a:bodyPr/>
                  <a:lstStyle/>
                  <a:p>
                    <a:r>
                      <a:t>637.5</a:t>
                    </a:r>
                  </a:p>
                </c:rich>
              </c:tx>
              <c:showLegendKey val="0"/>
              <c:showVal val="1"/>
              <c:showCatName val="0"/>
              <c:showSerName val="0"/>
              <c:showPercent val="0"/>
              <c:showBubbleSize val="0"/>
            </c:dLbl>
            <c:dLbl>
              <c:idx val="3"/>
              <c:tx>
                <c:rich>
                  <a:bodyPr/>
                  <a:lstStyle/>
                  <a:p>
                    <a:r>
                      <a:t>423.9</a:t>
                    </a:r>
                  </a:p>
                </c:rich>
              </c:tx>
              <c:showLegendKey val="0"/>
              <c:showVal val="1"/>
              <c:showCatName val="0"/>
              <c:showSerName val="0"/>
              <c:showPercent val="0"/>
              <c:showBubbleSize val="0"/>
            </c:dLbl>
            <c:dLbl>
              <c:idx val="4"/>
              <c:tx>
                <c:rich>
                  <a:bodyPr/>
                  <a:lstStyle/>
                  <a:p>
                    <a:r>
                      <a:t>3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Hawaiian Tropic After Sun After Sun Adults Cosmetics Gel 0 - 5 240Ml</c:v>
                </c:pt>
                <c:pt idx="1">
                  <c:v>Beiersdorf Eucerin Sunscreen Adults Derma Gel 50+ 50Ml</c:v>
                </c:pt>
                <c:pt idx="2">
                  <c:v>Isdin Isdin Sunscreen Adults Derma Gel 50+ 250Ml</c:v>
                </c:pt>
                <c:pt idx="3">
                  <c:v>Beiersdorf Nivea Sunscreen Adults Cosmetics Gel 50+ 200Ml</c:v>
                </c:pt>
                <c:pt idx="4">
                  <c:v>Beiersdorf Nivea Sunscreen Kids Cosmetics Gel 50+ 150Ml</c:v>
                </c:pt>
              </c:strCache>
            </c:strRef>
          </c:cat>
          <c:val>
            <c:numRef>
              <c:f>Sheet1!$B$2:$B$6</c:f>
              <c:numCache>
                <c:formatCode>General</c:formatCode>
                <c:ptCount val="5"/>
                <c:pt idx="0">
                  <c:v>299.0</c:v>
                </c:pt>
                <c:pt idx="1">
                  <c:v>699.0</c:v>
                </c:pt>
                <c:pt idx="2">
                  <c:v>637.5</c:v>
                </c:pt>
                <c:pt idx="3">
                  <c:v>423.9</c:v>
                </c:pt>
                <c:pt idx="4">
                  <c:v>3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699.0</a:t>
                    </a:r>
                  </a:p>
                </c:rich>
              </c:tx>
              <c:showLegendKey val="0"/>
              <c:showVal val="1"/>
              <c:showCatName val="0"/>
              <c:showSerName val="0"/>
              <c:showPercent val="0"/>
              <c:showBubbleSize val="0"/>
            </c:dLbl>
            <c:dLbl>
              <c:idx val="2"/>
              <c:tx>
                <c:rich>
                  <a:bodyPr/>
                  <a:lstStyle/>
                  <a:p>
                    <a:r>
                      <a:t>637.5</a:t>
                    </a:r>
                  </a:p>
                </c:rich>
              </c:tx>
              <c:showLegendKey val="0"/>
              <c:showVal val="1"/>
              <c:showCatName val="0"/>
              <c:showSerName val="0"/>
              <c:showPercent val="0"/>
              <c:showBubbleSize val="0"/>
            </c:dLbl>
            <c:dLbl>
              <c:idx val="3"/>
              <c:tx>
                <c:rich>
                  <a:bodyPr/>
                  <a:lstStyle/>
                  <a:p>
                    <a:r>
                      <a:t>423.9</a:t>
                    </a:r>
                  </a:p>
                </c:rich>
              </c:tx>
              <c:showLegendKey val="0"/>
              <c:showVal val="1"/>
              <c:showCatName val="0"/>
              <c:showSerName val="0"/>
              <c:showPercent val="0"/>
              <c:showBubbleSize val="0"/>
            </c:dLbl>
            <c:dLbl>
              <c:idx val="4"/>
              <c:tx>
                <c:rich>
                  <a:bodyPr/>
                  <a:lstStyle/>
                  <a:p>
                    <a:r>
                      <a:t>3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After Sun After Sun Adults Cosmetics Gel 0 - 5 230Ml</c:v>
                </c:pt>
                <c:pt idx="1">
                  <c:v>Beiersdorf Eucerin Sunscreen Adults Derma Gel 50+ 50Ml</c:v>
                </c:pt>
                <c:pt idx="2">
                  <c:v>Isdin Isdin Sunscreen Adults Derma Gel 50+ 250Ml</c:v>
                </c:pt>
                <c:pt idx="3">
                  <c:v>Beiersdorf Nivea Sunscreen Adults Cosmetics Gel 50+ 200Ml</c:v>
                </c:pt>
                <c:pt idx="4">
                  <c:v>Beiersdorf Nivea Sunscreen Kids Cosmetics Gel 50+ 150Ml</c:v>
                </c:pt>
              </c:strCache>
            </c:strRef>
          </c:cat>
          <c:val>
            <c:numRef>
              <c:f>Sheet1!$B$2:$B$6</c:f>
              <c:numCache>
                <c:formatCode>General</c:formatCode>
                <c:ptCount val="5"/>
                <c:pt idx="0">
                  <c:v>105.0</c:v>
                </c:pt>
                <c:pt idx="1">
                  <c:v>699.0</c:v>
                </c:pt>
                <c:pt idx="2">
                  <c:v>637.5</c:v>
                </c:pt>
                <c:pt idx="3">
                  <c:v>423.9</c:v>
                </c:pt>
                <c:pt idx="4">
                  <c:v>3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dLbl>
              <c:idx val="1"/>
              <c:tx>
                <c:rich>
                  <a:bodyPr/>
                  <a:lstStyle/>
                  <a:p>
                    <a:r>
                      <a:t>315.0</a:t>
                    </a:r>
                  </a:p>
                </c:rich>
              </c:tx>
              <c:showLegendKey val="0"/>
              <c:showVal val="1"/>
              <c:showCatName val="0"/>
              <c:showSerName val="0"/>
              <c:showPercent val="0"/>
              <c:showBubbleSize val="0"/>
            </c:dLbl>
            <c:dLbl>
              <c:idx val="2"/>
              <c:tx>
                <c:rich>
                  <a:bodyPr/>
                  <a:lstStyle/>
                  <a:p>
                    <a:r>
                      <a:t>600.0</a:t>
                    </a:r>
                  </a:p>
                </c:rich>
              </c:tx>
              <c:showLegendKey val="0"/>
              <c:showVal val="1"/>
              <c:showCatName val="0"/>
              <c:showSerName val="0"/>
              <c:showPercent val="0"/>
              <c:showBubbleSize val="0"/>
            </c:dLbl>
            <c:dLbl>
              <c:idx val="3"/>
              <c:tx>
                <c:rich>
                  <a:bodyPr/>
                  <a:lstStyle/>
                  <a:p>
                    <a:r>
                      <a:t>326.0</a:t>
                    </a:r>
                  </a:p>
                </c:rich>
              </c:tx>
              <c:showLegendKey val="0"/>
              <c:showVal val="1"/>
              <c:showCatName val="0"/>
              <c:showSerName val="0"/>
              <c:showPercent val="0"/>
              <c:showBubbleSize val="0"/>
            </c:dLbl>
            <c:dLbl>
              <c:idx val="4"/>
              <c:tx>
                <c:rich>
                  <a:bodyPr/>
                  <a:lstStyle/>
                  <a:p>
                    <a:r>
                      <a:t>365.0</a:t>
                    </a:r>
                  </a:p>
                </c:rich>
              </c:tx>
              <c:showLegendKey val="0"/>
              <c:showVal val="1"/>
              <c:showCatName val="0"/>
              <c:showSerName val="0"/>
              <c:showPercent val="0"/>
              <c:showBubbleSize val="0"/>
            </c:dLbl>
            <c:dLbl>
              <c:idx val="5"/>
              <c:tx>
                <c:rich>
                  <a:bodyPr/>
                  <a:lstStyle/>
                  <a:p>
                    <a:r>
                      <a:t>60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Ozono Sunscreen Adults Cosmetics Spray Liquido 50+ 180Ml</c:v>
                </c:pt>
                <c:pt idx="1">
                  <c:v>Edgewell Hawaiian Tropic Tanning Sunscreen Adults Cosmetics Spray Liquido 15 - 19 220Ml</c:v>
                </c:pt>
                <c:pt idx="2">
                  <c:v>Isdin Isdin Sunscreen Adults Derma Spray Liquido 50 100Ml</c:v>
                </c:pt>
                <c:pt idx="3">
                  <c:v>Beiersdorf Nivea Sunscreen Adults Cosmetics Spray Liquido 50 200Ml</c:v>
                </c:pt>
                <c:pt idx="4">
                  <c:v>Beiersdorf Nivea Sunscreen Kids Cosmetics Spray Liquido 50+ 200Ml</c:v>
                </c:pt>
                <c:pt idx="5">
                  <c:v>Others Fabricante Unif. Others Marca Unif. Tanning Adults Cosmetics Spray Liquido 0 - 5 177Ml</c:v>
                </c:pt>
              </c:strCache>
            </c:strRef>
          </c:cat>
          <c:val>
            <c:numRef>
              <c:f>Sheet1!$B$2:$B$7</c:f>
              <c:numCache>
                <c:formatCode>General</c:formatCode>
                <c:ptCount val="6"/>
                <c:pt idx="0">
                  <c:v>385.0</c:v>
                </c:pt>
                <c:pt idx="1">
                  <c:v>315.0</c:v>
                </c:pt>
                <c:pt idx="2">
                  <c:v>600.0</c:v>
                </c:pt>
                <c:pt idx="3">
                  <c:v>326.0</c:v>
                </c:pt>
                <c:pt idx="4">
                  <c:v>365.0</c:v>
                </c:pt>
                <c:pt idx="5">
                  <c:v>60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600.0</a:t>
                    </a:r>
                  </a:p>
                </c:rich>
              </c:tx>
              <c:showLegendKey val="0"/>
              <c:showVal val="1"/>
              <c:showCatName val="0"/>
              <c:showSerName val="0"/>
              <c:showPercent val="0"/>
              <c:showBubbleSize val="0"/>
            </c:dLbl>
            <c:dLbl>
              <c:idx val="3"/>
              <c:tx>
                <c:rich>
                  <a:bodyPr/>
                  <a:lstStyle/>
                  <a:p>
                    <a:r>
                      <a:t>326.0</a:t>
                    </a:r>
                  </a:p>
                </c:rich>
              </c:tx>
              <c:showLegendKey val="0"/>
              <c:showVal val="1"/>
              <c:showCatName val="0"/>
              <c:showSerName val="0"/>
              <c:showPercent val="0"/>
              <c:showBubbleSize val="0"/>
            </c:dLbl>
            <c:dLbl>
              <c:idx val="4"/>
              <c:tx>
                <c:rich>
                  <a:bodyPr/>
                  <a:lstStyle/>
                  <a:p>
                    <a:r>
                      <a:t>365.0</a:t>
                    </a:r>
                  </a:p>
                </c:rich>
              </c:tx>
              <c:showLegendKey val="0"/>
              <c:showVal val="1"/>
              <c:showCatName val="0"/>
              <c:showSerName val="0"/>
              <c:showPercent val="0"/>
              <c:showBubbleSize val="0"/>
            </c:dLbl>
            <c:dLbl>
              <c:idx val="5"/>
              <c:tx>
                <c:rich>
                  <a:bodyPr/>
                  <a:lstStyle/>
                  <a:p>
                    <a:r>
                      <a:t>60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qua Protect Sunscreen Adults Cosmetics Spray Liquido 50+ 170Ml</c:v>
                </c:pt>
                <c:pt idx="1">
                  <c:v>Edgewell Banana Boat Dry Balance Sunscreen Adults Sport Spray Liquido 50 220Ml</c:v>
                </c:pt>
                <c:pt idx="2">
                  <c:v>Isdin Isdin Sunscreen Adults Derma Spray Liquido 50 100Ml</c:v>
                </c:pt>
                <c:pt idx="3">
                  <c:v>Beiersdorf Nivea Sunscreen Adults Cosmetics Spray Liquido 50 200Ml</c:v>
                </c:pt>
                <c:pt idx="4">
                  <c:v>Beiersdorf Nivea Sunscreen Kids Cosmetics Spray Liquido 50+ 200Ml</c:v>
                </c:pt>
                <c:pt idx="5">
                  <c:v>Others Fabricante Unif. Others Marca Unif. Tanning Adults Cosmetics Spray Liquido 0 - 5 177Ml</c:v>
                </c:pt>
              </c:strCache>
            </c:strRef>
          </c:cat>
          <c:val>
            <c:numRef>
              <c:f>Sheet1!$B$2:$B$7</c:f>
              <c:numCache>
                <c:formatCode>General</c:formatCode>
                <c:ptCount val="6"/>
                <c:pt idx="0">
                  <c:v>349.0</c:v>
                </c:pt>
                <c:pt idx="1">
                  <c:v>385.0</c:v>
                </c:pt>
                <c:pt idx="2">
                  <c:v>600.0</c:v>
                </c:pt>
                <c:pt idx="3">
                  <c:v>326.0</c:v>
                </c:pt>
                <c:pt idx="4">
                  <c:v>365.0</c:v>
                </c:pt>
                <c:pt idx="5">
                  <c:v>60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99.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Carrot Tanning Adults Cosmetics Crema 10 - 14 240Ml</c:v>
                </c:pt>
                <c:pt idx="1">
                  <c:v>Edgewell Hawaiian Tropic Other Sunscreen Adults Cosmetics Crema 50+ 240Ml</c:v>
                </c:pt>
                <c:pt idx="2">
                  <c:v>Edgewell Hawaiian Tropic Sheer Touch Sunscreen Adults Cosmetics Crema 30 - 49 240Ml</c:v>
                </c:pt>
                <c:pt idx="3">
                  <c:v>Edgewell Hawaiian Tropic Sheer Touch Sunscreen Adults Cosmetics Crema 50 120Ml</c:v>
                </c:pt>
              </c:strCache>
            </c:strRef>
          </c:cat>
          <c:val>
            <c:numRef>
              <c:f>Sheet1!$B$2:$B$5</c:f>
              <c:numCache>
                <c:formatCode>General</c:formatCode>
                <c:ptCount val="4"/>
                <c:pt idx="0">
                  <c:v>299.0</c:v>
                </c:pt>
                <c:pt idx="1">
                  <c:v>350.0</c:v>
                </c:pt>
                <c:pt idx="2">
                  <c:v>299.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strCache>
            </c:strRef>
          </c:cat>
          <c:val>
            <c:numRef>
              <c:f>Sheet1!$B$2:$B$5</c:f>
              <c:numCache>
                <c:formatCode>General</c:formatCode>
                <c:ptCount val="4"/>
                <c:pt idx="0">
                  <c:v>305.0</c:v>
                </c:pt>
                <c:pt idx="1">
                  <c:v>305.0</c:v>
                </c:pt>
                <c:pt idx="2">
                  <c:v>335.0</c:v>
                </c:pt>
                <c:pt idx="3">
                  <c:v>3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dvanced Protection Sunscreen Adults Cosmetics Liquido 50+ 240Ml</c:v>
                </c:pt>
              </c:strCache>
            </c:strRef>
          </c:cat>
          <c:val>
            <c:numRef>
              <c:f>Sheet1!$B$2:$B$2</c:f>
              <c:numCache>
                <c:formatCode>General</c:formatCode>
                <c:ptCount val="1"/>
                <c:pt idx="0">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dLbl>
              <c:idx val="1"/>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Ozono Sunscreen Adults Cosmetics Spray Liquido 50+ 180Ml</c:v>
                </c:pt>
                <c:pt idx="1">
                  <c:v>Edgewell Hawaiian Tropic Tanning Sunscreen Adults Cosmetics Spray Liquido 15 - 19 220Ml</c:v>
                </c:pt>
              </c:strCache>
            </c:strRef>
          </c:cat>
          <c:val>
            <c:numRef>
              <c:f>Sheet1!$B$2:$B$3</c:f>
              <c:numCache>
                <c:formatCode>General</c:formatCode>
                <c:ptCount val="2"/>
                <c:pt idx="0">
                  <c:v>385.0</c:v>
                </c:pt>
                <c:pt idx="1">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qua Protect Sunscreen Adults Cosmetics Spray Liquido 50+ 170Ml</c:v>
                </c:pt>
                <c:pt idx="1">
                  <c:v>Edgewell Banana Boat Dry Balance Sunscreen Adults Sport Spray Liquido 50 220Ml</c:v>
                </c:pt>
              </c:strCache>
            </c:strRef>
          </c:cat>
          <c:val>
            <c:numRef>
              <c:f>Sheet1!$B$2:$B$3</c:f>
              <c:numCache>
                <c:formatCode>General</c:formatCode>
                <c:ptCount val="2"/>
                <c:pt idx="0">
                  <c:v>349.0</c:v>
                </c:pt>
                <c:pt idx="1">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99.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Carrot Tanning Adults Cosmetics Crema 10 - 14 240Ml</c:v>
                </c:pt>
                <c:pt idx="1">
                  <c:v>Edgewell Hawaiian Tropic Other Sunscreen Adults Cosmetics Crema 50+ 240Ml</c:v>
                </c:pt>
                <c:pt idx="2">
                  <c:v>Edgewell Hawaiian Tropic Sheer Touch Sunscreen Adults Cosmetics Crema 30 - 49 240Ml</c:v>
                </c:pt>
                <c:pt idx="3">
                  <c:v>Edgewell Hawaiian Tropic Sheer Touch Sunscreen Adults Cosmetics Crema 50 120Ml</c:v>
                </c:pt>
              </c:strCache>
            </c:strRef>
          </c:cat>
          <c:val>
            <c:numRef>
              <c:f>Sheet1!$B$2:$B$5</c:f>
              <c:numCache>
                <c:formatCode>General</c:formatCode>
                <c:ptCount val="4"/>
                <c:pt idx="0">
                  <c:v>299.0</c:v>
                </c:pt>
                <c:pt idx="1">
                  <c:v>350.0</c:v>
                </c:pt>
                <c:pt idx="2">
                  <c:v>299.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strCache>
            </c:strRef>
          </c:cat>
          <c:val>
            <c:numRef>
              <c:f>Sheet1!$B$2:$B$5</c:f>
              <c:numCache>
                <c:formatCode>General</c:formatCode>
                <c:ptCount val="4"/>
                <c:pt idx="0">
                  <c:v>305.0</c:v>
                </c:pt>
                <c:pt idx="1">
                  <c:v>305.0</c:v>
                </c:pt>
                <c:pt idx="2">
                  <c:v>335.0</c:v>
                </c:pt>
                <c:pt idx="3">
                  <c:v>3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Island Sport Sunscreen Adults Sport Liquido 50 6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Sheer Touch Sunscreen Adults Cosmetics Liquido 30 - 49 60Ml</c:v>
                </c:pt>
              </c:strCache>
            </c:strRef>
          </c:cat>
          <c:val>
            <c:numRef>
              <c:f>Sheet1!$B$2:$B$7</c:f>
              <c:numCache>
                <c:formatCode>General</c:formatCode>
                <c:ptCount val="6"/>
                <c:pt idx="0">
                  <c:v>105.0</c:v>
                </c:pt>
                <c:pt idx="1">
                  <c:v>205.0</c:v>
                </c:pt>
                <c:pt idx="2">
                  <c:v>350.0</c:v>
                </c:pt>
                <c:pt idx="3">
                  <c:v>350.0</c:v>
                </c:pt>
                <c:pt idx="4">
                  <c:v>12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dvanced Protection Sunscreen Adults Cosmetics Liquido 50+ 240Ml</c:v>
                </c:pt>
              </c:strCache>
            </c:strRef>
          </c:cat>
          <c:val>
            <c:numRef>
              <c:f>Sheet1!$B$2:$B$2</c:f>
              <c:numCache>
                <c:formatCode>General</c:formatCode>
                <c:ptCount val="1"/>
                <c:pt idx="0">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dLbl>
              <c:idx val="1"/>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Ozono Sunscreen Adults Cosmetics Spray Liquido 50+ 180Ml</c:v>
                </c:pt>
                <c:pt idx="1">
                  <c:v>Edgewell Hawaiian Tropic Tanning Sunscreen Adults Cosmetics Spray Liquido 15 - 19 220Ml</c:v>
                </c:pt>
              </c:strCache>
            </c:strRef>
          </c:cat>
          <c:val>
            <c:numRef>
              <c:f>Sheet1!$B$2:$B$3</c:f>
              <c:numCache>
                <c:formatCode>General</c:formatCode>
                <c:ptCount val="2"/>
                <c:pt idx="0">
                  <c:v>385.0</c:v>
                </c:pt>
                <c:pt idx="1">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qua Protect Sunscreen Adults Cosmetics Spray Liquido 50+ 170Ml</c:v>
                </c:pt>
                <c:pt idx="1">
                  <c:v>Edgewell Banana Boat Dry Balance Sunscreen Adults Sport Spray Liquido 50 220Ml</c:v>
                </c:pt>
              </c:strCache>
            </c:strRef>
          </c:cat>
          <c:val>
            <c:numRef>
              <c:f>Sheet1!$B$2:$B$3</c:f>
              <c:numCache>
                <c:formatCode>General</c:formatCode>
                <c:ptCount val="2"/>
                <c:pt idx="0">
                  <c:v>349.0</c:v>
                </c:pt>
                <c:pt idx="1">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1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205.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12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299.0</a:t>
                    </a:r>
                  </a:p>
                </c:rich>
              </c:tx>
              <c:showLegendKey val="0"/>
              <c:showVal val="1"/>
              <c:showCatName val="0"/>
              <c:showSerName val="0"/>
              <c:showPercent val="0"/>
              <c:showBubbleSize val="0"/>
            </c:dLbl>
            <c:dLbl>
              <c:idx val="10"/>
              <c:tx>
                <c:rich>
                  <a:bodyPr/>
                  <a:lstStyle/>
                  <a:p>
                    <a:r>
                      <a:t>205.0</a:t>
                    </a:r>
                  </a:p>
                </c:rich>
              </c:tx>
              <c:showLegendKey val="0"/>
              <c:showVal val="1"/>
              <c:showCatName val="0"/>
              <c:showSerName val="0"/>
              <c:showPercent val="0"/>
              <c:showBubbleSize val="0"/>
            </c:dLbl>
            <c:dLbl>
              <c:idx val="11"/>
              <c:tx>
                <c:rich>
                  <a:bodyPr/>
                  <a:lstStyle/>
                  <a:p>
                    <a:r>
                      <a:t>105.0</a:t>
                    </a:r>
                  </a:p>
                </c:rich>
              </c:tx>
              <c:showLegendKey val="0"/>
              <c:showVal val="1"/>
              <c:showCatName val="0"/>
              <c:showSerName val="0"/>
              <c:showPercent val="0"/>
              <c:showBubbleSize val="0"/>
            </c:dLbl>
            <c:dLbl>
              <c:idx val="1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Hawaiian Tropic After Sun After Sun Adults Cosmetics Gel 0 - 5 240Ml</c:v>
                </c:pt>
                <c:pt idx="1">
                  <c:v>Edgewell Hawaiian Tropic Carrot Tanning Adults Cosmetics Crema 10 - 14 240Ml</c:v>
                </c:pt>
                <c:pt idx="2">
                  <c:v>Edgewell Hawaiian Tropic Island Sport Sunscreen Adults Sport Liquido 50 60Ml</c:v>
                </c:pt>
                <c:pt idx="3">
                  <c:v>Edgewell Hawaiian Tropic Other Sunscreen Adults Cosmetics Crema 50+ 240Ml</c:v>
                </c:pt>
                <c:pt idx="4">
                  <c:v>Edgewell Hawaiian Tropic Ozono Sunscreen Adults Cosmetics Liquido 50+ 120Ml</c:v>
                </c:pt>
                <c:pt idx="5">
                  <c:v>Edgewell Hawaiian Tropic Ozono Sunscreen Adults Cosmetics Liquido 50+ 180Ml</c:v>
                </c:pt>
                <c:pt idx="6">
                  <c:v>Edgewell Hawaiian Tropic Ozono Sunscreen Adults Cosmetics Liquido 50+ 240Ml</c:v>
                </c:pt>
                <c:pt idx="7">
                  <c:v>Edgewell Hawaiian Tropic Ozono Sunscreen Adults Cosmetics Liquido 50+ 90Ml</c:v>
                </c:pt>
                <c:pt idx="8">
                  <c:v>Edgewell Hawaiian Tropic Ozono Sunscreen Adults Cosmetics Spray Liquido 50+ 180Ml</c:v>
                </c:pt>
                <c:pt idx="9">
                  <c:v>Edgewell Hawaiian Tropic Sheer Touch Sunscreen Adults Cosmetics Crema 30 - 49 240Ml</c:v>
                </c:pt>
                <c:pt idx="10">
                  <c:v>Edgewell Hawaiian Tropic Sheer Touch Sunscreen Adults Cosmetics Crema 50 120Ml</c:v>
                </c:pt>
                <c:pt idx="11">
                  <c:v>Edgewell Hawaiian Tropic Sheer Touch Sunscreen Adults Cosmetics Liquido 30 - 49 60Ml</c:v>
                </c:pt>
                <c:pt idx="12">
                  <c:v>Edgewell Hawaiian Tropic Tanning Sunscreen Adults Cosmetics Spray Liquido 15 - 19 220Ml</c:v>
                </c:pt>
              </c:strCache>
            </c:strRef>
          </c:cat>
          <c:val>
            <c:numRef>
              <c:f>Sheet1!$B$2:$B$14</c:f>
              <c:numCache>
                <c:formatCode>General</c:formatCode>
                <c:ptCount val="13"/>
                <c:pt idx="0">
                  <c:v>299.0</c:v>
                </c:pt>
                <c:pt idx="1">
                  <c:v>299.0</c:v>
                </c:pt>
                <c:pt idx="2">
                  <c:v>105.0</c:v>
                </c:pt>
                <c:pt idx="3">
                  <c:v>350.0</c:v>
                </c:pt>
                <c:pt idx="4">
                  <c:v>205.0</c:v>
                </c:pt>
                <c:pt idx="5">
                  <c:v>350.0</c:v>
                </c:pt>
                <c:pt idx="6">
                  <c:v>350.0</c:v>
                </c:pt>
                <c:pt idx="7">
                  <c:v>125.0</c:v>
                </c:pt>
                <c:pt idx="8">
                  <c:v>385.0</c:v>
                </c:pt>
                <c:pt idx="9">
                  <c:v>299.0</c:v>
                </c:pt>
                <c:pt idx="10">
                  <c:v>205.0</c:v>
                </c:pt>
                <c:pt idx="11">
                  <c:v>105.0</c:v>
                </c:pt>
                <c:pt idx="1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99.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Carrot Tanning Adults Cosmetics Crema 10 - 14 240Ml</c:v>
                </c:pt>
                <c:pt idx="1">
                  <c:v>Edgewell Hawaiian Tropic Other Sunscreen Adults Cosmetics Crema 50+ 240Ml</c:v>
                </c:pt>
                <c:pt idx="2">
                  <c:v>Edgewell Hawaiian Tropic Sheer Touch Sunscreen Adults Cosmetics Crema 30 - 49 240Ml</c:v>
                </c:pt>
                <c:pt idx="3">
                  <c:v>Edgewell Hawaiian Tropic Sheer Touch Sunscreen Adults Cosmetics Crema 50 120Ml</c:v>
                </c:pt>
              </c:strCache>
            </c:strRef>
          </c:cat>
          <c:val>
            <c:numRef>
              <c:f>Sheet1!$B$2:$B$5</c:f>
              <c:numCache>
                <c:formatCode>General</c:formatCode>
                <c:ptCount val="4"/>
                <c:pt idx="0">
                  <c:v>299.0</c:v>
                </c:pt>
                <c:pt idx="1">
                  <c:v>350.0</c:v>
                </c:pt>
                <c:pt idx="2">
                  <c:v>299.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strCache>
            </c:strRef>
          </c:cat>
          <c:val>
            <c:numRef>
              <c:f>Sheet1!$B$2:$B$5</c:f>
              <c:numCache>
                <c:formatCode>General</c:formatCode>
                <c:ptCount val="4"/>
                <c:pt idx="0">
                  <c:v>305.0</c:v>
                </c:pt>
                <c:pt idx="1">
                  <c:v>305.0</c:v>
                </c:pt>
                <c:pt idx="2">
                  <c:v>335.0</c:v>
                </c:pt>
                <c:pt idx="3">
                  <c:v>3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Island Sport Sunscreen Adults Sport Liquido 50 6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Sheer Touch Sunscreen Adults Cosmetics Liquido 30 - 49 60Ml</c:v>
                </c:pt>
              </c:strCache>
            </c:strRef>
          </c:cat>
          <c:val>
            <c:numRef>
              <c:f>Sheet1!$B$2:$B$7</c:f>
              <c:numCache>
                <c:formatCode>General</c:formatCode>
                <c:ptCount val="6"/>
                <c:pt idx="0">
                  <c:v>105.0</c:v>
                </c:pt>
                <c:pt idx="1">
                  <c:v>205.0</c:v>
                </c:pt>
                <c:pt idx="2">
                  <c:v>350.0</c:v>
                </c:pt>
                <c:pt idx="3">
                  <c:v>350.0</c:v>
                </c:pt>
                <c:pt idx="4">
                  <c:v>12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dvanced Protection Sunscreen Adults Cosmetics Liquido 50+ 240Ml</c:v>
                </c:pt>
              </c:strCache>
            </c:strRef>
          </c:cat>
          <c:val>
            <c:numRef>
              <c:f>Sheet1!$B$2:$B$2</c:f>
              <c:numCache>
                <c:formatCode>General</c:formatCode>
                <c:ptCount val="1"/>
                <c:pt idx="0">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dLbl>
              <c:idx val="1"/>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Ozono Sunscreen Adults Cosmetics Spray Liquido 50+ 180Ml</c:v>
                </c:pt>
                <c:pt idx="1">
                  <c:v>Edgewell Hawaiian Tropic Tanning Sunscreen Adults Cosmetics Spray Liquido 15 - 19 220Ml</c:v>
                </c:pt>
              </c:strCache>
            </c:strRef>
          </c:cat>
          <c:val>
            <c:numRef>
              <c:f>Sheet1!$B$2:$B$3</c:f>
              <c:numCache>
                <c:formatCode>General</c:formatCode>
                <c:ptCount val="2"/>
                <c:pt idx="0">
                  <c:v>385.0</c:v>
                </c:pt>
                <c:pt idx="1">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99.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Carrot Tanning Adults Cosmetics Crema 10 - 14 240Ml</c:v>
                </c:pt>
                <c:pt idx="1">
                  <c:v>Edgewell Hawaiian Tropic Other Sunscreen Adults Cosmetics Crema 50+ 240Ml</c:v>
                </c:pt>
                <c:pt idx="2">
                  <c:v>Edgewell Hawaiian Tropic Sheer Touch Sunscreen Adults Cosmetics Crema 30 - 49 240Ml</c:v>
                </c:pt>
                <c:pt idx="3">
                  <c:v>Edgewell Hawaiian Tropic Sheer Touch Sunscreen Adults Cosmetics Crema 50 120Ml</c:v>
                </c:pt>
              </c:strCache>
            </c:strRef>
          </c:cat>
          <c:val>
            <c:numRef>
              <c:f>Sheet1!$B$2:$B$5</c:f>
              <c:numCache>
                <c:formatCode>General</c:formatCode>
                <c:ptCount val="4"/>
                <c:pt idx="0">
                  <c:v>299.0</c:v>
                </c:pt>
                <c:pt idx="1">
                  <c:v>350.0</c:v>
                </c:pt>
                <c:pt idx="2">
                  <c:v>299.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7.5</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79.0</a:t>
                    </a:r>
                  </a:p>
                </c:rich>
              </c:tx>
              <c:showLegendKey val="0"/>
              <c:showVal val="1"/>
              <c:showCatName val="0"/>
              <c:showSerName val="0"/>
              <c:showPercent val="0"/>
              <c:showBubbleSize val="0"/>
            </c:dLbl>
            <c:dLbl>
              <c:idx val="14"/>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Tanning Tanning Adults Cosmetics Spray Aceite 0 - 5 237Ml</c:v>
                </c:pt>
                <c:pt idx="14">
                  <c:v>Edgewell Banana Boat Ultra Sunscreen Adults Sport Roll-On 60+ 75Ml</c:v>
                </c:pt>
              </c:strCache>
            </c:strRef>
          </c:cat>
          <c:val>
            <c:numRef>
              <c:f>Sheet1!$B$2:$B$16</c:f>
              <c:numCache>
                <c:formatCode>General</c:formatCode>
                <c:ptCount val="15"/>
                <c:pt idx="0">
                  <c:v>310.0</c:v>
                </c:pt>
                <c:pt idx="1">
                  <c:v>105.0</c:v>
                </c:pt>
                <c:pt idx="2">
                  <c:v>305.0</c:v>
                </c:pt>
                <c:pt idx="3">
                  <c:v>349.0</c:v>
                </c:pt>
                <c:pt idx="4">
                  <c:v>305.0</c:v>
                </c:pt>
                <c:pt idx="5">
                  <c:v>367.5</c:v>
                </c:pt>
                <c:pt idx="6">
                  <c:v>305.0</c:v>
                </c:pt>
                <c:pt idx="7">
                  <c:v>335.0</c:v>
                </c:pt>
                <c:pt idx="8">
                  <c:v>385.0</c:v>
                </c:pt>
                <c:pt idx="9">
                  <c:v>305.0</c:v>
                </c:pt>
                <c:pt idx="10">
                  <c:v>310.0</c:v>
                </c:pt>
                <c:pt idx="11">
                  <c:v>249.0</c:v>
                </c:pt>
                <c:pt idx="12">
                  <c:v>242.0</c:v>
                </c:pt>
                <c:pt idx="13">
                  <c:v>279.0</c:v>
                </c:pt>
                <c:pt idx="14">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strCache>
            </c:strRef>
          </c:cat>
          <c:val>
            <c:numRef>
              <c:f>Sheet1!$B$2:$B$5</c:f>
              <c:numCache>
                <c:formatCode>General</c:formatCode>
                <c:ptCount val="4"/>
                <c:pt idx="0">
                  <c:v>305.0</c:v>
                </c:pt>
                <c:pt idx="1">
                  <c:v>305.0</c:v>
                </c:pt>
                <c:pt idx="2">
                  <c:v>335.0</c:v>
                </c:pt>
                <c:pt idx="3">
                  <c:v>3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Island Sport Sunscreen Adults Sport Liquido 50 6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Sheer Touch Sunscreen Adults Cosmetics Liquido 30 - 49 60Ml</c:v>
                </c:pt>
              </c:strCache>
            </c:strRef>
          </c:cat>
          <c:val>
            <c:numRef>
              <c:f>Sheet1!$B$2:$B$7</c:f>
              <c:numCache>
                <c:formatCode>General</c:formatCode>
                <c:ptCount val="6"/>
                <c:pt idx="0">
                  <c:v>105.0</c:v>
                </c:pt>
                <c:pt idx="1">
                  <c:v>205.0</c:v>
                </c:pt>
                <c:pt idx="2">
                  <c:v>350.0</c:v>
                </c:pt>
                <c:pt idx="3">
                  <c:v>350.0</c:v>
                </c:pt>
                <c:pt idx="4">
                  <c:v>12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dvanced Protection Sunscreen Adults Cosmetics Liquido 50+ 240Ml</c:v>
                </c:pt>
              </c:strCache>
            </c:strRef>
          </c:cat>
          <c:val>
            <c:numRef>
              <c:f>Sheet1!$B$2:$B$2</c:f>
              <c:numCache>
                <c:formatCode>General</c:formatCode>
                <c:ptCount val="1"/>
                <c:pt idx="0">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dLbl>
              <c:idx val="1"/>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Ozono Sunscreen Adults Cosmetics Spray Liquido 50+ 180Ml</c:v>
                </c:pt>
                <c:pt idx="1">
                  <c:v>Edgewell Hawaiian Tropic Tanning Sunscreen Adults Cosmetics Spray Liquido 15 - 19 220Ml</c:v>
                </c:pt>
              </c:strCache>
            </c:strRef>
          </c:cat>
          <c:val>
            <c:numRef>
              <c:f>Sheet1!$B$2:$B$3</c:f>
              <c:numCache>
                <c:formatCode>General</c:formatCode>
                <c:ptCount val="2"/>
                <c:pt idx="0">
                  <c:v>385.0</c:v>
                </c:pt>
                <c:pt idx="1">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qua Protect Sunscreen Adults Cosmetics Spray Liquido 50+ 170Ml</c:v>
                </c:pt>
                <c:pt idx="1">
                  <c:v>Edgewell Banana Boat Dry Balance Sunscreen Adults Sport Spray Liquido 50 220Ml</c:v>
                </c:pt>
              </c:strCache>
            </c:strRef>
          </c:cat>
          <c:val>
            <c:numRef>
              <c:f>Sheet1!$B$2:$B$3</c:f>
              <c:numCache>
                <c:formatCode>General</c:formatCode>
                <c:ptCount val="2"/>
                <c:pt idx="0">
                  <c:v>349.0</c:v>
                </c:pt>
                <c:pt idx="1">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99.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Carrot Tanning Adults Cosmetics Crema 10 - 14 240Ml</c:v>
                </c:pt>
                <c:pt idx="1">
                  <c:v>Edgewell Hawaiian Tropic Other Sunscreen Adults Cosmetics Crema 50+ 240Ml</c:v>
                </c:pt>
                <c:pt idx="2">
                  <c:v>Edgewell Hawaiian Tropic Sheer Touch Sunscreen Adults Cosmetics Crema 30 - 49 240Ml</c:v>
                </c:pt>
                <c:pt idx="3">
                  <c:v>Edgewell Hawaiian Tropic Sheer Touch Sunscreen Adults Cosmetics Crema 50 120Ml</c:v>
                </c:pt>
              </c:strCache>
            </c:strRef>
          </c:cat>
          <c:val>
            <c:numRef>
              <c:f>Sheet1!$B$2:$B$5</c:f>
              <c:numCache>
                <c:formatCode>General</c:formatCode>
                <c:ptCount val="4"/>
                <c:pt idx="0">
                  <c:v>299.0</c:v>
                </c:pt>
                <c:pt idx="1">
                  <c:v>350.0</c:v>
                </c:pt>
                <c:pt idx="2">
                  <c:v>299.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125.0</a:t>
                    </a:r>
                  </a:p>
                </c:rich>
              </c:tx>
              <c:showLegendKey val="0"/>
              <c:showVal val="1"/>
              <c:showCatName val="0"/>
              <c:showSerName val="0"/>
              <c:showPercent val="0"/>
              <c:showBubbleSize val="0"/>
            </c:dLbl>
            <c:dLbl>
              <c:idx val="4"/>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Hawaiian Tropic Island Sport Sunscreen Adults Sport Liquido 50 60Ml</c:v>
                </c:pt>
                <c:pt idx="1">
                  <c:v>Edgewell Hawaiian Tropic Ozono Sunscreen Adults Cosmetics Liquido 50+ 120Ml</c:v>
                </c:pt>
                <c:pt idx="2">
                  <c:v>Edgewell Hawaiian Tropic Ozono Sunscreen Adults Cosmetics Liquido 50+ 240Ml</c:v>
                </c:pt>
                <c:pt idx="3">
                  <c:v>Edgewell Hawaiian Tropic Ozono Sunscreen Adults Cosmetics Liquido 50+ 90Ml</c:v>
                </c:pt>
                <c:pt idx="4">
                  <c:v>Edgewell Hawaiian Tropic Sheer Touch Sunscreen Adults Cosmetics Liquido 30 - 49 60Ml</c:v>
                </c:pt>
              </c:strCache>
            </c:strRef>
          </c:cat>
          <c:val>
            <c:numRef>
              <c:f>Sheet1!$B$2:$B$6</c:f>
              <c:numCache>
                <c:formatCode>General</c:formatCode>
                <c:ptCount val="5"/>
                <c:pt idx="0">
                  <c:v>105.0</c:v>
                </c:pt>
                <c:pt idx="1">
                  <c:v>205.0</c:v>
                </c:pt>
                <c:pt idx="2">
                  <c:v>350.0</c:v>
                </c:pt>
                <c:pt idx="3">
                  <c:v>125.0</c:v>
                </c:pt>
                <c:pt idx="4">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dvanced Protection Sunscreen Adults Cosmetics Liquido 50+ 240Ml</c:v>
                </c:pt>
              </c:strCache>
            </c:strRef>
          </c:cat>
          <c:val>
            <c:numRef>
              <c:f>Sheet1!$B$2:$B$2</c:f>
              <c:numCache>
                <c:formatCode>General</c:formatCode>
                <c:ptCount val="1"/>
                <c:pt idx="0">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Ozono Sunscreen Adults Cosmetics Spray Liquido 50+ 180Ml</c:v>
                </c:pt>
              </c:strCache>
            </c:strRef>
          </c:cat>
          <c:val>
            <c:numRef>
              <c:f>Sheet1!$B$2:$B$2</c:f>
              <c:numCache>
                <c:formatCode>General</c:formatCode>
                <c:ptCount val="1"/>
                <c:pt idx="0">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99.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Carrot Tanning Adults Cosmetics Crema 10 - 14 240Ml</c:v>
                </c:pt>
                <c:pt idx="1">
                  <c:v>Edgewell Hawaiian Tropic Other Sunscreen Adults Cosmetics Crema 50+ 240Ml</c:v>
                </c:pt>
                <c:pt idx="2">
                  <c:v>Edgewell Hawaiian Tropic Sheer Touch Sunscreen Adults Cosmetics Crema 30 - 49 240Ml</c:v>
                </c:pt>
                <c:pt idx="3">
                  <c:v>Edgewell Hawaiian Tropic Sheer Touch Sunscreen Adults Cosmetics Crema 50 120Ml</c:v>
                </c:pt>
              </c:strCache>
            </c:strRef>
          </c:cat>
          <c:val>
            <c:numRef>
              <c:f>Sheet1!$B$2:$B$5</c:f>
              <c:numCache>
                <c:formatCode>General</c:formatCode>
                <c:ptCount val="4"/>
                <c:pt idx="0">
                  <c:v>299.0</c:v>
                </c:pt>
                <c:pt idx="1">
                  <c:v>350.0</c:v>
                </c:pt>
                <c:pt idx="2">
                  <c:v>299.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strCache>
            </c:strRef>
          </c:cat>
          <c:val>
            <c:numRef>
              <c:f>Sheet1!$B$2:$B$5</c:f>
              <c:numCache>
                <c:formatCode>General</c:formatCode>
                <c:ptCount val="4"/>
                <c:pt idx="0">
                  <c:v>305.0</c:v>
                </c:pt>
                <c:pt idx="1">
                  <c:v>305.0</c:v>
                </c:pt>
                <c:pt idx="2">
                  <c:v>335.0</c:v>
                </c:pt>
                <c:pt idx="3">
                  <c:v>3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Island Sport Sunscreen Adults Sport Liquido 50 6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Sheer Touch Sunscreen Adults Cosmetics Liquido 30 - 49 60Ml</c:v>
                </c:pt>
              </c:strCache>
            </c:strRef>
          </c:cat>
          <c:val>
            <c:numRef>
              <c:f>Sheet1!$B$2:$B$7</c:f>
              <c:numCache>
                <c:formatCode>General</c:formatCode>
                <c:ptCount val="6"/>
                <c:pt idx="0">
                  <c:v>105.0</c:v>
                </c:pt>
                <c:pt idx="1">
                  <c:v>205.0</c:v>
                </c:pt>
                <c:pt idx="2">
                  <c:v>350.0</c:v>
                </c:pt>
                <c:pt idx="3">
                  <c:v>350.0</c:v>
                </c:pt>
                <c:pt idx="4">
                  <c:v>12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12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299.0</a:t>
                    </a:r>
                  </a:p>
                </c:rich>
              </c:tx>
              <c:showLegendKey val="0"/>
              <c:showVal val="1"/>
              <c:showCatName val="0"/>
              <c:showSerName val="0"/>
              <c:showPercent val="0"/>
              <c:showBubbleSize val="0"/>
            </c:dLbl>
            <c:dLbl>
              <c:idx val="9"/>
              <c:tx>
                <c:rich>
                  <a:bodyPr/>
                  <a:lstStyle/>
                  <a:p>
                    <a:r>
                      <a:t>205.0</a:t>
                    </a:r>
                  </a:p>
                </c:rich>
              </c:tx>
              <c:showLegendKey val="0"/>
              <c:showVal val="1"/>
              <c:showCatName val="0"/>
              <c:showSerName val="0"/>
              <c:showPercent val="0"/>
              <c:showBubbleSize val="0"/>
            </c:dLbl>
            <c:dLbl>
              <c:idx val="1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Carrot Tanning Adults Cosmetics Crema 10 - 14 240Ml</c:v>
                </c:pt>
                <c:pt idx="1">
                  <c:v>Edgewell Hawaiian Tropic Island Sport Sunscreen Adults Sport Liquido 50 60Ml</c:v>
                </c:pt>
                <c:pt idx="2">
                  <c:v>Edgewell Hawaiian Tropic Other Sunscreen Adults Cosmetics Crema 50+ 240Ml</c:v>
                </c:pt>
                <c:pt idx="3">
                  <c:v>Edgewell Hawaiian Tropic Ozono Sunscreen Adults Cosmetics Liquido 50+ 120Ml</c:v>
                </c:pt>
                <c:pt idx="4">
                  <c:v>Edgewell Hawaiian Tropic Ozono Sunscreen Adults Cosmetics Liquido 50+ 180Ml</c:v>
                </c:pt>
                <c:pt idx="5">
                  <c:v>Edgewell Hawaiian Tropic Ozono Sunscreen Adults Cosmetics Liquido 50+ 240Ml</c:v>
                </c:pt>
                <c:pt idx="6">
                  <c:v>Edgewell Hawaiian Tropic Ozono Sunscreen Adults Cosmetics Liquido 50+ 90Ml</c:v>
                </c:pt>
                <c:pt idx="7">
                  <c:v>Edgewell Hawaiian Tropic Ozono Sunscreen Adults Cosmetics Spray Liquido 50+ 180Ml</c:v>
                </c:pt>
                <c:pt idx="8">
                  <c:v>Edgewell Hawaiian Tropic Sheer Touch Sunscreen Adults Cosmetics Crema 30 - 49 240Ml</c:v>
                </c:pt>
                <c:pt idx="9">
                  <c:v>Edgewell Hawaiian Tropic Sheer Touch Sunscreen Adults Cosmetics Crema 50 120Ml</c:v>
                </c:pt>
                <c:pt idx="10">
                  <c:v>Edgewell Hawaiian Tropic Sheer Touch Sunscreen Adults Cosmetics Liquido 30 - 49 60Ml</c:v>
                </c:pt>
              </c:strCache>
            </c:strRef>
          </c:cat>
          <c:val>
            <c:numRef>
              <c:f>Sheet1!$B$2:$B$12</c:f>
              <c:numCache>
                <c:formatCode>General</c:formatCode>
                <c:ptCount val="11"/>
                <c:pt idx="0">
                  <c:v>299.0</c:v>
                </c:pt>
                <c:pt idx="1">
                  <c:v>105.0</c:v>
                </c:pt>
                <c:pt idx="2">
                  <c:v>350.0</c:v>
                </c:pt>
                <c:pt idx="3">
                  <c:v>205.0</c:v>
                </c:pt>
                <c:pt idx="4">
                  <c:v>350.0</c:v>
                </c:pt>
                <c:pt idx="5">
                  <c:v>350.0</c:v>
                </c:pt>
                <c:pt idx="6">
                  <c:v>125.0</c:v>
                </c:pt>
                <c:pt idx="7">
                  <c:v>385.0</c:v>
                </c:pt>
                <c:pt idx="8">
                  <c:v>299.0</c:v>
                </c:pt>
                <c:pt idx="9">
                  <c:v>205.0</c:v>
                </c:pt>
                <c:pt idx="1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dLbl>
              <c:idx val="1"/>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Ozono Sunscreen Adults Cosmetics Spray Liquido 50+ 180Ml</c:v>
                </c:pt>
                <c:pt idx="1">
                  <c:v>Edgewell Hawaiian Tropic Tanning Sunscreen Adults Cosmetics Spray Liquido 15 - 19 220Ml</c:v>
                </c:pt>
              </c:strCache>
            </c:strRef>
          </c:cat>
          <c:val>
            <c:numRef>
              <c:f>Sheet1!$B$2:$B$3</c:f>
              <c:numCache>
                <c:formatCode>General</c:formatCode>
                <c:ptCount val="2"/>
                <c:pt idx="0">
                  <c:v>385.0</c:v>
                </c:pt>
                <c:pt idx="1">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99.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Carrot Tanning Adults Cosmetics Crema 10 - 14 240Ml</c:v>
                </c:pt>
                <c:pt idx="1">
                  <c:v>Edgewell Hawaiian Tropic Other Sunscreen Adults Cosmetics Crema 50+ 240Ml</c:v>
                </c:pt>
                <c:pt idx="2">
                  <c:v>Edgewell Hawaiian Tropic Sheer Touch Sunscreen Adults Cosmetics Crema 30 - 49 240Ml</c:v>
                </c:pt>
                <c:pt idx="3">
                  <c:v>Edgewell Hawaiian Tropic Sheer Touch Sunscreen Adults Cosmetics Crema 50 120Ml</c:v>
                </c:pt>
              </c:strCache>
            </c:strRef>
          </c:cat>
          <c:val>
            <c:numRef>
              <c:f>Sheet1!$B$2:$B$5</c:f>
              <c:numCache>
                <c:formatCode>General</c:formatCode>
                <c:ptCount val="4"/>
                <c:pt idx="0">
                  <c:v>299.0</c:v>
                </c:pt>
                <c:pt idx="1">
                  <c:v>350.0</c:v>
                </c:pt>
                <c:pt idx="2">
                  <c:v>299.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strCache>
            </c:strRef>
          </c:cat>
          <c:val>
            <c:numRef>
              <c:f>Sheet1!$B$2:$B$5</c:f>
              <c:numCache>
                <c:formatCode>General</c:formatCode>
                <c:ptCount val="4"/>
                <c:pt idx="0">
                  <c:v>305.0</c:v>
                </c:pt>
                <c:pt idx="1">
                  <c:v>305.0</c:v>
                </c:pt>
                <c:pt idx="2">
                  <c:v>335.0</c:v>
                </c:pt>
                <c:pt idx="3">
                  <c:v>3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Island Sport Sunscreen Adults Sport Liquido 50 6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Sheer Touch Sunscreen Adults Cosmetics Liquido 30 - 49 60Ml</c:v>
                </c:pt>
              </c:strCache>
            </c:strRef>
          </c:cat>
          <c:val>
            <c:numRef>
              <c:f>Sheet1!$B$2:$B$7</c:f>
              <c:numCache>
                <c:formatCode>General</c:formatCode>
                <c:ptCount val="6"/>
                <c:pt idx="0">
                  <c:v>105.0</c:v>
                </c:pt>
                <c:pt idx="1">
                  <c:v>205.0</c:v>
                </c:pt>
                <c:pt idx="2">
                  <c:v>350.0</c:v>
                </c:pt>
                <c:pt idx="3">
                  <c:v>350.0</c:v>
                </c:pt>
                <c:pt idx="4">
                  <c:v>12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dvanced Protection Sunscreen Adults Cosmetics Liquido 50+ 240Ml</c:v>
                </c:pt>
              </c:strCache>
            </c:strRef>
          </c:cat>
          <c:val>
            <c:numRef>
              <c:f>Sheet1!$B$2:$B$2</c:f>
              <c:numCache>
                <c:formatCode>General</c:formatCode>
                <c:ptCount val="1"/>
                <c:pt idx="0">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8.42</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335.0</a:t>
                    </a:r>
                  </a:p>
                </c:rich>
              </c:tx>
              <c:showLegendKey val="0"/>
              <c:showVal val="1"/>
              <c:showCatName val="0"/>
              <c:showSerName val="0"/>
              <c:showPercent val="0"/>
              <c:showBubbleSize val="0"/>
            </c:dLbl>
            <c:dLbl>
              <c:idx val="9"/>
              <c:tx>
                <c:rich>
                  <a:bodyPr/>
                  <a:lstStyle/>
                  <a:p>
                    <a:r>
                      <a:t>385.0</a:t>
                    </a:r>
                  </a:p>
                </c:rich>
              </c:tx>
              <c:showLegendKey val="0"/>
              <c:showVal val="1"/>
              <c:showCatName val="0"/>
              <c:showSerName val="0"/>
              <c:showPercent val="0"/>
              <c:showBubbleSize val="0"/>
            </c:dLbl>
            <c:dLbl>
              <c:idx val="10"/>
              <c:tx>
                <c:rich>
                  <a:bodyPr/>
                  <a:lstStyle/>
                  <a:p>
                    <a:r>
                      <a:t>305.0</a:t>
                    </a:r>
                  </a:p>
                </c:rich>
              </c:tx>
              <c:showLegendKey val="0"/>
              <c:showVal val="1"/>
              <c:showCatName val="0"/>
              <c:showSerName val="0"/>
              <c:showPercent val="0"/>
              <c:showBubbleSize val="0"/>
            </c:dLbl>
            <c:dLbl>
              <c:idx val="11"/>
              <c:tx>
                <c:rich>
                  <a:bodyPr/>
                  <a:lstStyle/>
                  <a:p>
                    <a:r>
                      <a:t>310.0</a:t>
                    </a:r>
                  </a:p>
                </c:rich>
              </c:tx>
              <c:showLegendKey val="0"/>
              <c:showVal val="1"/>
              <c:showCatName val="0"/>
              <c:showSerName val="0"/>
              <c:showPercent val="0"/>
              <c:showBubbleSize val="0"/>
            </c:dLbl>
            <c:dLbl>
              <c:idx val="12"/>
              <c:tx>
                <c:rich>
                  <a:bodyPr/>
                  <a:lstStyle/>
                  <a:p>
                    <a:r>
                      <a:t>249.0</a:t>
                    </a:r>
                  </a:p>
                </c:rich>
              </c:tx>
              <c:showLegendKey val="0"/>
              <c:showVal val="1"/>
              <c:showCatName val="0"/>
              <c:showSerName val="0"/>
              <c:showPercent val="0"/>
              <c:showBubbleSize val="0"/>
            </c:dLbl>
            <c:dLbl>
              <c:idx val="13"/>
              <c:tx>
                <c:rich>
                  <a:bodyPr/>
                  <a:lstStyle/>
                  <a:p>
                    <a:r>
                      <a:t>242.0</a:t>
                    </a:r>
                  </a:p>
                </c:rich>
              </c:tx>
              <c:showLegendKey val="0"/>
              <c:showVal val="1"/>
              <c:showCatName val="0"/>
              <c:showSerName val="0"/>
              <c:showPercent val="0"/>
              <c:showBubbleSize val="0"/>
            </c:dLbl>
            <c:dLbl>
              <c:idx val="14"/>
              <c:tx>
                <c:rich>
                  <a:bodyPr/>
                  <a:lstStyle/>
                  <a:p>
                    <a:r>
                      <a:t>279.0</a:t>
                    </a:r>
                  </a:p>
                </c:rich>
              </c:tx>
              <c:showLegendKey val="0"/>
              <c:showVal val="1"/>
              <c:showCatName val="0"/>
              <c:showSerName val="0"/>
              <c:showPercent val="0"/>
              <c:showBubbleSize val="0"/>
            </c:dLbl>
            <c:dLbl>
              <c:idx val="15"/>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Cosmetics Spray Crema 50+ 220Ml</c:v>
                </c:pt>
                <c:pt idx="8">
                  <c:v>Edgewell Banana Boat Dry Balance Sunscreen Adults Sport Crema 50+ 180Ml</c:v>
                </c:pt>
                <c:pt idx="9">
                  <c:v>Edgewell Banana Boat Dry Balance Sunscreen Adults Sport Spray Liquido 50 220Ml</c:v>
                </c:pt>
                <c:pt idx="10">
                  <c:v>Edgewell Banana Boat Kids Sport Sunscreen Kids Cosmetics Crema 50 180Ml</c:v>
                </c:pt>
                <c:pt idx="11">
                  <c:v>Edgewell Banana Boat Mineral Sunscreen Adults Cosmetics Locion 50 60Ml</c:v>
                </c:pt>
                <c:pt idx="12">
                  <c:v>Edgewell Banana Boat Mineral Sunscreen Adults Sport Locion 50 180Ml</c:v>
                </c:pt>
                <c:pt idx="13">
                  <c:v>Edgewell Banana Boat Mineral Sunscreen Kids Cosmetics Locion 50 180Ml</c:v>
                </c:pt>
                <c:pt idx="14">
                  <c:v>Edgewell Banana Boat Tanning Tanning Adults Cosmetics Spray Aceite 0 - 5 237Ml</c:v>
                </c:pt>
                <c:pt idx="15">
                  <c:v>Edgewell Banana Boat Ultra Sunscreen Adults Sport Roll-On 60+ 75Ml</c:v>
                </c:pt>
              </c:strCache>
            </c:strRef>
          </c:cat>
          <c:val>
            <c:numRef>
              <c:f>Sheet1!$B$2:$B$17</c:f>
              <c:numCache>
                <c:formatCode>General</c:formatCode>
                <c:ptCount val="16"/>
                <c:pt idx="0">
                  <c:v>310.0</c:v>
                </c:pt>
                <c:pt idx="1">
                  <c:v>105.0</c:v>
                </c:pt>
                <c:pt idx="2">
                  <c:v>305.0</c:v>
                </c:pt>
                <c:pt idx="3">
                  <c:v>349.0</c:v>
                </c:pt>
                <c:pt idx="4">
                  <c:v>305.0</c:v>
                </c:pt>
                <c:pt idx="5">
                  <c:v>368.42</c:v>
                </c:pt>
                <c:pt idx="6">
                  <c:v>305.0</c:v>
                </c:pt>
                <c:pt idx="7">
                  <c:v>249.0</c:v>
                </c:pt>
                <c:pt idx="8">
                  <c:v>335.0</c:v>
                </c:pt>
                <c:pt idx="9">
                  <c:v>385.0</c:v>
                </c:pt>
                <c:pt idx="10">
                  <c:v>305.0</c:v>
                </c:pt>
                <c:pt idx="11">
                  <c:v>310.0</c:v>
                </c:pt>
                <c:pt idx="12">
                  <c:v>249.0</c:v>
                </c:pt>
                <c:pt idx="13">
                  <c:v>242.0</c:v>
                </c:pt>
                <c:pt idx="14">
                  <c:v>279.0</c:v>
                </c:pt>
                <c:pt idx="15">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Tanning Tanning Adults Cosmetics Spray Aceite 0 - 5 237Ml</c:v>
                </c:pt>
              </c:strCache>
            </c:strRef>
          </c:cat>
          <c:val>
            <c:numRef>
              <c:f>Sheet1!$B$2:$B$15</c:f>
              <c:numCache>
                <c:formatCode>General</c:formatCode>
                <c:ptCount val="14"/>
                <c:pt idx="0">
                  <c:v>310.0</c:v>
                </c:pt>
                <c:pt idx="1">
                  <c:v>105.0</c:v>
                </c:pt>
                <c:pt idx="2">
                  <c:v>305.0</c:v>
                </c:pt>
                <c:pt idx="3">
                  <c:v>349.0</c:v>
                </c:pt>
                <c:pt idx="4">
                  <c:v>305.0</c:v>
                </c:pt>
                <c:pt idx="5">
                  <c:v>350.0</c:v>
                </c:pt>
                <c:pt idx="6">
                  <c:v>305.0</c:v>
                </c:pt>
                <c:pt idx="7">
                  <c:v>335.0</c:v>
                </c:pt>
                <c:pt idx="8">
                  <c:v>385.0</c:v>
                </c:pt>
                <c:pt idx="9">
                  <c:v>305.0</c:v>
                </c:pt>
                <c:pt idx="10">
                  <c:v>310.0</c:v>
                </c:pt>
                <c:pt idx="11">
                  <c:v>249.0</c:v>
                </c:pt>
                <c:pt idx="12">
                  <c:v>242.0</c:v>
                </c:pt>
                <c:pt idx="13">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dLbl>
              <c:idx val="1"/>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Ozono Sunscreen Adults Cosmetics Spray Liquido 50+ 180Ml</c:v>
                </c:pt>
                <c:pt idx="1">
                  <c:v>Edgewell Hawaiian Tropic Tanning Sunscreen Adults Cosmetics Spray Liquido 15 - 19 220Ml</c:v>
                </c:pt>
              </c:strCache>
            </c:strRef>
          </c:cat>
          <c:val>
            <c:numRef>
              <c:f>Sheet1!$B$2:$B$3</c:f>
              <c:numCache>
                <c:formatCode>General</c:formatCode>
                <c:ptCount val="2"/>
                <c:pt idx="0">
                  <c:v>385.0</c:v>
                </c:pt>
                <c:pt idx="1">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99.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Carrot Tanning Adults Cosmetics Crema 10 - 14 240Ml</c:v>
                </c:pt>
                <c:pt idx="1">
                  <c:v>Edgewell Hawaiian Tropic Other Sunscreen Adults Cosmetics Crema 50+ 240Ml</c:v>
                </c:pt>
                <c:pt idx="2">
                  <c:v>Edgewell Hawaiian Tropic Sheer Touch Sunscreen Adults Cosmetics Crema 30 - 49 240Ml</c:v>
                </c:pt>
                <c:pt idx="3">
                  <c:v>Edgewell Hawaiian Tropic Sheer Touch Sunscreen Adults Cosmetics Crema 50 120Ml</c:v>
                </c:pt>
              </c:strCache>
            </c:strRef>
          </c:cat>
          <c:val>
            <c:numRef>
              <c:f>Sheet1!$B$2:$B$5</c:f>
              <c:numCache>
                <c:formatCode>General</c:formatCode>
                <c:ptCount val="4"/>
                <c:pt idx="0">
                  <c:v>299.0</c:v>
                </c:pt>
                <c:pt idx="1">
                  <c:v>350.0</c:v>
                </c:pt>
                <c:pt idx="2">
                  <c:v>299.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strCache>
            </c:strRef>
          </c:cat>
          <c:val>
            <c:numRef>
              <c:f>Sheet1!$B$2:$B$5</c:f>
              <c:numCache>
                <c:formatCode>General</c:formatCode>
                <c:ptCount val="4"/>
                <c:pt idx="0">
                  <c:v>305.0</c:v>
                </c:pt>
                <c:pt idx="1">
                  <c:v>305.0</c:v>
                </c:pt>
                <c:pt idx="2">
                  <c:v>335.0</c:v>
                </c:pt>
                <c:pt idx="3">
                  <c:v>3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Island Sport Sunscreen Adults Sport Liquido 50 6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Sheer Touch Sunscreen Adults Cosmetics Liquido 30 - 49 60Ml</c:v>
                </c:pt>
              </c:strCache>
            </c:strRef>
          </c:cat>
          <c:val>
            <c:numRef>
              <c:f>Sheet1!$B$2:$B$7</c:f>
              <c:numCache>
                <c:formatCode>General</c:formatCode>
                <c:ptCount val="6"/>
                <c:pt idx="0">
                  <c:v>105.0</c:v>
                </c:pt>
                <c:pt idx="1">
                  <c:v>205.0</c:v>
                </c:pt>
                <c:pt idx="2">
                  <c:v>350.0</c:v>
                </c:pt>
                <c:pt idx="3">
                  <c:v>350.0</c:v>
                </c:pt>
                <c:pt idx="4">
                  <c:v>12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dvanced Protection Sunscreen Adults Cosmetics Liquido 50+ 240Ml</c:v>
                </c:pt>
              </c:strCache>
            </c:strRef>
          </c:cat>
          <c:val>
            <c:numRef>
              <c:f>Sheet1!$B$2:$B$2</c:f>
              <c:numCache>
                <c:formatCode>General</c:formatCode>
                <c:ptCount val="1"/>
                <c:pt idx="0">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dLbl>
              <c:idx val="1"/>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Ozono Sunscreen Adults Cosmetics Spray Liquido 50+ 180Ml</c:v>
                </c:pt>
                <c:pt idx="1">
                  <c:v>Edgewell Hawaiian Tropic Tanning Sunscreen Adults Cosmetics Spray Liquido 15 - 19 220Ml</c:v>
                </c:pt>
              </c:strCache>
            </c:strRef>
          </c:cat>
          <c:val>
            <c:numRef>
              <c:f>Sheet1!$B$2:$B$3</c:f>
              <c:numCache>
                <c:formatCode>General</c:formatCode>
                <c:ptCount val="2"/>
                <c:pt idx="0">
                  <c:v>385.0</c:v>
                </c:pt>
                <c:pt idx="1">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qua Protect Sunscreen Adults Cosmetics Spray Liquido 50+ 170Ml</c:v>
                </c:pt>
                <c:pt idx="1">
                  <c:v>Edgewell Banana Boat Dry Balance Sunscreen Adults Sport Spray Liquido 50 220Ml</c:v>
                </c:pt>
              </c:strCache>
            </c:strRef>
          </c:cat>
          <c:val>
            <c:numRef>
              <c:f>Sheet1!$B$2:$B$3</c:f>
              <c:numCache>
                <c:formatCode>General</c:formatCode>
                <c:ptCount val="2"/>
                <c:pt idx="0">
                  <c:v>349.0</c:v>
                </c:pt>
                <c:pt idx="1">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99.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Carrot Tanning Adults Cosmetics Crema 10 - 14 240Ml</c:v>
                </c:pt>
                <c:pt idx="1">
                  <c:v>Edgewell Hawaiian Tropic Other Sunscreen Adults Cosmetics Crema 50+ 240Ml</c:v>
                </c:pt>
                <c:pt idx="2">
                  <c:v>Edgewell Hawaiian Tropic Sheer Touch Sunscreen Adults Cosmetics Crema 30 - 49 240Ml</c:v>
                </c:pt>
                <c:pt idx="3">
                  <c:v>Edgewell Hawaiian Tropic Sheer Touch Sunscreen Adults Cosmetics Crema 50 120Ml</c:v>
                </c:pt>
              </c:strCache>
            </c:strRef>
          </c:cat>
          <c:val>
            <c:numRef>
              <c:f>Sheet1!$B$2:$B$5</c:f>
              <c:numCache>
                <c:formatCode>General</c:formatCode>
                <c:ptCount val="4"/>
                <c:pt idx="0">
                  <c:v>299.0</c:v>
                </c:pt>
                <c:pt idx="1">
                  <c:v>350.0</c:v>
                </c:pt>
                <c:pt idx="2">
                  <c:v>299.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Island Sport Sunscreen Adults Sport Liquido 50 6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Sheer Touch Sunscreen Adults Cosmetics Liquido 30 - 49 60Ml</c:v>
                </c:pt>
              </c:strCache>
            </c:strRef>
          </c:cat>
          <c:val>
            <c:numRef>
              <c:f>Sheet1!$B$2:$B$7</c:f>
              <c:numCache>
                <c:formatCode>General</c:formatCode>
                <c:ptCount val="6"/>
                <c:pt idx="0">
                  <c:v>105.0</c:v>
                </c:pt>
                <c:pt idx="1">
                  <c:v>205.0</c:v>
                </c:pt>
                <c:pt idx="2">
                  <c:v>350.0</c:v>
                </c:pt>
                <c:pt idx="3">
                  <c:v>350.0</c:v>
                </c:pt>
                <c:pt idx="4">
                  <c:v>12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dvanced Protection Sunscreen Adults Cosmetics Liquido 50+ 240Ml</c:v>
                </c:pt>
              </c:strCache>
            </c:strRef>
          </c:cat>
          <c:val>
            <c:numRef>
              <c:f>Sheet1!$B$2:$B$2</c:f>
              <c:numCache>
                <c:formatCode>General</c:formatCode>
                <c:ptCount val="1"/>
                <c:pt idx="0">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1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205.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12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299.0</a:t>
                    </a:r>
                  </a:p>
                </c:rich>
              </c:tx>
              <c:showLegendKey val="0"/>
              <c:showVal val="1"/>
              <c:showCatName val="0"/>
              <c:showSerName val="0"/>
              <c:showPercent val="0"/>
              <c:showBubbleSize val="0"/>
            </c:dLbl>
            <c:dLbl>
              <c:idx val="10"/>
              <c:tx>
                <c:rich>
                  <a:bodyPr/>
                  <a:lstStyle/>
                  <a:p>
                    <a:r>
                      <a:t>205.0</a:t>
                    </a:r>
                  </a:p>
                </c:rich>
              </c:tx>
              <c:showLegendKey val="0"/>
              <c:showVal val="1"/>
              <c:showCatName val="0"/>
              <c:showSerName val="0"/>
              <c:showPercent val="0"/>
              <c:showBubbleSize val="0"/>
            </c:dLbl>
            <c:dLbl>
              <c:idx val="11"/>
              <c:tx>
                <c:rich>
                  <a:bodyPr/>
                  <a:lstStyle/>
                  <a:p>
                    <a:r>
                      <a:t>105.0</a:t>
                    </a:r>
                  </a:p>
                </c:rich>
              </c:tx>
              <c:showLegendKey val="0"/>
              <c:showVal val="1"/>
              <c:showCatName val="0"/>
              <c:showSerName val="0"/>
              <c:showPercent val="0"/>
              <c:showBubbleSize val="0"/>
            </c:dLbl>
            <c:dLbl>
              <c:idx val="1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Hawaiian Tropic After Sun After Sun Adults Cosmetics Gel 0 - 5 240Ml</c:v>
                </c:pt>
                <c:pt idx="1">
                  <c:v>Edgewell Hawaiian Tropic Carrot Tanning Adults Cosmetics Crema 10 - 14 240Ml</c:v>
                </c:pt>
                <c:pt idx="2">
                  <c:v>Edgewell Hawaiian Tropic Island Sport Sunscreen Adults Sport Liquido 50 60Ml</c:v>
                </c:pt>
                <c:pt idx="3">
                  <c:v>Edgewell Hawaiian Tropic Other Sunscreen Adults Cosmetics Crema 50+ 240Ml</c:v>
                </c:pt>
                <c:pt idx="4">
                  <c:v>Edgewell Hawaiian Tropic Ozono Sunscreen Adults Cosmetics Liquido 50+ 120Ml</c:v>
                </c:pt>
                <c:pt idx="5">
                  <c:v>Edgewell Hawaiian Tropic Ozono Sunscreen Adults Cosmetics Liquido 50+ 180Ml</c:v>
                </c:pt>
                <c:pt idx="6">
                  <c:v>Edgewell Hawaiian Tropic Ozono Sunscreen Adults Cosmetics Liquido 50+ 240Ml</c:v>
                </c:pt>
                <c:pt idx="7">
                  <c:v>Edgewell Hawaiian Tropic Ozono Sunscreen Adults Cosmetics Liquido 50+ 90Ml</c:v>
                </c:pt>
                <c:pt idx="8">
                  <c:v>Edgewell Hawaiian Tropic Ozono Sunscreen Adults Cosmetics Spray Liquido 50+ 180Ml</c:v>
                </c:pt>
                <c:pt idx="9">
                  <c:v>Edgewell Hawaiian Tropic Sheer Touch Sunscreen Adults Cosmetics Crema 30 - 49 240Ml</c:v>
                </c:pt>
                <c:pt idx="10">
                  <c:v>Edgewell Hawaiian Tropic Sheer Touch Sunscreen Adults Cosmetics Crema 50 120Ml</c:v>
                </c:pt>
                <c:pt idx="11">
                  <c:v>Edgewell Hawaiian Tropic Sheer Touch Sunscreen Adults Cosmetics Liquido 30 - 49 60Ml</c:v>
                </c:pt>
                <c:pt idx="12">
                  <c:v>Edgewell Hawaiian Tropic Tanning Sunscreen Adults Cosmetics Spray Liquido 15 - 19 220Ml</c:v>
                </c:pt>
              </c:strCache>
            </c:strRef>
          </c:cat>
          <c:val>
            <c:numRef>
              <c:f>Sheet1!$B$2:$B$14</c:f>
              <c:numCache>
                <c:formatCode>General</c:formatCode>
                <c:ptCount val="13"/>
                <c:pt idx="0">
                  <c:v>299.0</c:v>
                </c:pt>
                <c:pt idx="1">
                  <c:v>299.0</c:v>
                </c:pt>
                <c:pt idx="2">
                  <c:v>105.0</c:v>
                </c:pt>
                <c:pt idx="3">
                  <c:v>350.0</c:v>
                </c:pt>
                <c:pt idx="4">
                  <c:v>205.0</c:v>
                </c:pt>
                <c:pt idx="5">
                  <c:v>350.0</c:v>
                </c:pt>
                <c:pt idx="6">
                  <c:v>350.0</c:v>
                </c:pt>
                <c:pt idx="7">
                  <c:v>125.0</c:v>
                </c:pt>
                <c:pt idx="8">
                  <c:v>385.0</c:v>
                </c:pt>
                <c:pt idx="9">
                  <c:v>299.0</c:v>
                </c:pt>
                <c:pt idx="10">
                  <c:v>205.0</c:v>
                </c:pt>
                <c:pt idx="11">
                  <c:v>105.0</c:v>
                </c:pt>
                <c:pt idx="1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dLbl>
              <c:idx val="1"/>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Ozono Sunscreen Adults Cosmetics Spray Liquido 50+ 180Ml</c:v>
                </c:pt>
                <c:pt idx="1">
                  <c:v>Edgewell Hawaiian Tropic Tanning Sunscreen Adults Cosmetics Spray Liquido 15 - 19 220Ml</c:v>
                </c:pt>
              </c:strCache>
            </c:strRef>
          </c:cat>
          <c:val>
            <c:numRef>
              <c:f>Sheet1!$B$2:$B$3</c:f>
              <c:numCache>
                <c:formatCode>General</c:formatCode>
                <c:ptCount val="2"/>
                <c:pt idx="0">
                  <c:v>385.0</c:v>
                </c:pt>
                <c:pt idx="1">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qua Protect Sunscreen Adults Cosmetics Spray Liquido 50+ 170Ml</c:v>
                </c:pt>
                <c:pt idx="1">
                  <c:v>Edgewell Banana Boat Dry Balance Sunscreen Adults Sport Spray Liquido 50 220Ml</c:v>
                </c:pt>
              </c:strCache>
            </c:strRef>
          </c:cat>
          <c:val>
            <c:numRef>
              <c:f>Sheet1!$B$2:$B$3</c:f>
              <c:numCache>
                <c:formatCode>General</c:formatCode>
                <c:ptCount val="2"/>
                <c:pt idx="0">
                  <c:v>349.0</c:v>
                </c:pt>
                <c:pt idx="1">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qua Protect Sunscreen Adults Cosmetics Crema 50+ 236Ml</c:v>
                </c:pt>
                <c:pt idx="1">
                  <c:v>Edgewell Banana Boat Aqua Protect Sunscreen Adults Sport Crema 50+ 236Ml</c:v>
                </c:pt>
                <c:pt idx="2">
                  <c:v>Edgewell Banana Boat Kids Sport Sunscreen Kids Cosmetics Crema 50 180Ml</c:v>
                </c:pt>
              </c:strCache>
            </c:strRef>
          </c:cat>
          <c:val>
            <c:numRef>
              <c:f>Sheet1!$B$2:$B$4</c:f>
              <c:numCache>
                <c:formatCode>General</c:formatCode>
                <c:ptCount val="3"/>
                <c:pt idx="0">
                  <c:v>305.0</c:v>
                </c:pt>
                <c:pt idx="1">
                  <c:v>305.0</c:v>
                </c:pt>
                <c:pt idx="2">
                  <c:v>3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Island Sport Sunscreen Adults Sport Liquido 50 60Ml</c:v>
                </c:pt>
                <c:pt idx="1">
                  <c:v>Edgewell Hawaiian Tropic Ozono Sunscreen Adults Cosmetics Liquido 50+ 180Ml</c:v>
                </c:pt>
                <c:pt idx="2">
                  <c:v>Edgewell Hawaiian Tropic Ozono Sunscreen Adults Cosmetics Liquido 50+ 240Ml</c:v>
                </c:pt>
                <c:pt idx="3">
                  <c:v>Edgewell Hawaiian Tropic Sheer Touch Sunscreen Adults Cosmetics Liquido 30 - 49 60Ml</c:v>
                </c:pt>
              </c:strCache>
            </c:strRef>
          </c:cat>
          <c:val>
            <c:numRef>
              <c:f>Sheet1!$B$2:$B$5</c:f>
              <c:numCache>
                <c:formatCode>General</c:formatCode>
                <c:ptCount val="4"/>
                <c:pt idx="0">
                  <c:v>105.0</c:v>
                </c:pt>
                <c:pt idx="1">
                  <c:v>350.0</c:v>
                </c:pt>
                <c:pt idx="2">
                  <c:v>350.0</c:v>
                </c:pt>
                <c:pt idx="3">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dvanced Protection Sunscreen Adults Cosmetics Liquido 50+ 240Ml</c:v>
                </c:pt>
              </c:strCache>
            </c:strRef>
          </c:cat>
          <c:val>
            <c:numRef>
              <c:f>Sheet1!$B$2:$B$2</c:f>
              <c:numCache>
                <c:formatCode>General</c:formatCode>
                <c:ptCount val="1"/>
                <c:pt idx="0">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dLbl>
              <c:idx val="1"/>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Ozono Sunscreen Adults Cosmetics Spray Liquido 50+ 180Ml</c:v>
                </c:pt>
                <c:pt idx="1">
                  <c:v>Edgewell Hawaiian Tropic Tanning Sunscreen Adults Cosmetics Spray Liquido 15 - 19 220Ml</c:v>
                </c:pt>
              </c:strCache>
            </c:strRef>
          </c:cat>
          <c:val>
            <c:numRef>
              <c:f>Sheet1!$B$2:$B$3</c:f>
              <c:numCache>
                <c:formatCode>General</c:formatCode>
                <c:ptCount val="2"/>
                <c:pt idx="0">
                  <c:v>385.0</c:v>
                </c:pt>
                <c:pt idx="1">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7.5</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79.0</a:t>
                    </a:r>
                  </a:p>
                </c:rich>
              </c:tx>
              <c:showLegendKey val="0"/>
              <c:showVal val="1"/>
              <c:showCatName val="0"/>
              <c:showSerName val="0"/>
              <c:showPercent val="0"/>
              <c:showBubbleSize val="0"/>
            </c:dLbl>
            <c:dLbl>
              <c:idx val="14"/>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Tanning Tanning Adults Cosmetics Spray Aceite 0 - 5 237Ml</c:v>
                </c:pt>
                <c:pt idx="14">
                  <c:v>Edgewell Banana Boat Ultra Sunscreen Adults Sport Roll-On 60+ 75Ml</c:v>
                </c:pt>
              </c:strCache>
            </c:strRef>
          </c:cat>
          <c:val>
            <c:numRef>
              <c:f>Sheet1!$B$2:$B$16</c:f>
              <c:numCache>
                <c:formatCode>General</c:formatCode>
                <c:ptCount val="15"/>
                <c:pt idx="0">
                  <c:v>310.0</c:v>
                </c:pt>
                <c:pt idx="1">
                  <c:v>105.0</c:v>
                </c:pt>
                <c:pt idx="2">
                  <c:v>305.0</c:v>
                </c:pt>
                <c:pt idx="3">
                  <c:v>349.0</c:v>
                </c:pt>
                <c:pt idx="4">
                  <c:v>305.0</c:v>
                </c:pt>
                <c:pt idx="5">
                  <c:v>367.5</c:v>
                </c:pt>
                <c:pt idx="6">
                  <c:v>305.0</c:v>
                </c:pt>
                <c:pt idx="7">
                  <c:v>335.0</c:v>
                </c:pt>
                <c:pt idx="8">
                  <c:v>385.0</c:v>
                </c:pt>
                <c:pt idx="9">
                  <c:v>305.0</c:v>
                </c:pt>
                <c:pt idx="10">
                  <c:v>310.0</c:v>
                </c:pt>
                <c:pt idx="11">
                  <c:v>249.0</c:v>
                </c:pt>
                <c:pt idx="12">
                  <c:v>242.0</c:v>
                </c:pt>
                <c:pt idx="13">
                  <c:v>279.0</c:v>
                </c:pt>
                <c:pt idx="14">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qua Protect Sunscreen Adults Cosmetics Spray Liquido 50+ 170Ml</c:v>
                </c:pt>
                <c:pt idx="1">
                  <c:v>Edgewell Banana Boat Dry Balance Sunscreen Adults Sport Spray Liquido 50 220Ml</c:v>
                </c:pt>
              </c:strCache>
            </c:strRef>
          </c:cat>
          <c:val>
            <c:numRef>
              <c:f>Sheet1!$B$2:$B$3</c:f>
              <c:numCache>
                <c:formatCode>General</c:formatCode>
                <c:ptCount val="2"/>
                <c:pt idx="0">
                  <c:v>349.0</c:v>
                </c:pt>
                <c:pt idx="1">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99.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Carrot Tanning Adults Cosmetics Crema 10 - 14 240Ml</c:v>
                </c:pt>
                <c:pt idx="1">
                  <c:v>Edgewell Hawaiian Tropic Other Sunscreen Adults Cosmetics Crema 50+ 240Ml</c:v>
                </c:pt>
                <c:pt idx="2">
                  <c:v>Edgewell Hawaiian Tropic Sheer Touch Sunscreen Adults Cosmetics Crema 30 - 49 240Ml</c:v>
                </c:pt>
                <c:pt idx="3">
                  <c:v>Edgewell Hawaiian Tropic Sheer Touch Sunscreen Adults Cosmetics Crema 50 120Ml</c:v>
                </c:pt>
              </c:strCache>
            </c:strRef>
          </c:cat>
          <c:val>
            <c:numRef>
              <c:f>Sheet1!$B$2:$B$5</c:f>
              <c:numCache>
                <c:formatCode>General</c:formatCode>
                <c:ptCount val="4"/>
                <c:pt idx="0">
                  <c:v>299.0</c:v>
                </c:pt>
                <c:pt idx="1">
                  <c:v>350.0</c:v>
                </c:pt>
                <c:pt idx="2">
                  <c:v>299.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strCache>
            </c:strRef>
          </c:cat>
          <c:val>
            <c:numRef>
              <c:f>Sheet1!$B$2:$B$5</c:f>
              <c:numCache>
                <c:formatCode>General</c:formatCode>
                <c:ptCount val="4"/>
                <c:pt idx="0">
                  <c:v>305.0</c:v>
                </c:pt>
                <c:pt idx="1">
                  <c:v>305.0</c:v>
                </c:pt>
                <c:pt idx="2">
                  <c:v>335.0</c:v>
                </c:pt>
                <c:pt idx="3">
                  <c:v>3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dvanced Protection Sunscreen Adults Cosmetics Liquido 50+ 240Ml</c:v>
                </c:pt>
              </c:strCache>
            </c:strRef>
          </c:cat>
          <c:val>
            <c:numRef>
              <c:f>Sheet1!$B$2:$B$2</c:f>
              <c:numCache>
                <c:formatCode>General</c:formatCode>
                <c:ptCount val="1"/>
                <c:pt idx="0">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dLbl>
              <c:idx val="1"/>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Ozono Sunscreen Adults Cosmetics Spray Liquido 50+ 180Ml</c:v>
                </c:pt>
                <c:pt idx="1">
                  <c:v>Edgewell Hawaiian Tropic Tanning Sunscreen Adults Cosmetics Spray Liquido 15 - 19 220Ml</c:v>
                </c:pt>
              </c:strCache>
            </c:strRef>
          </c:cat>
          <c:val>
            <c:numRef>
              <c:f>Sheet1!$B$2:$B$3</c:f>
              <c:numCache>
                <c:formatCode>General</c:formatCode>
                <c:ptCount val="2"/>
                <c:pt idx="0">
                  <c:v>385.0</c:v>
                </c:pt>
                <c:pt idx="1">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qua Protect Sunscreen Adults Cosmetics Spray Liquido 50+ 170Ml</c:v>
                </c:pt>
                <c:pt idx="1">
                  <c:v>Edgewell Banana Boat Dry Balance Sunscreen Adults Sport Spray Liquido 50 220Ml</c:v>
                </c:pt>
              </c:strCache>
            </c:strRef>
          </c:cat>
          <c:val>
            <c:numRef>
              <c:f>Sheet1!$B$2:$B$3</c:f>
              <c:numCache>
                <c:formatCode>General</c:formatCode>
                <c:ptCount val="2"/>
                <c:pt idx="0">
                  <c:v>349.0</c:v>
                </c:pt>
                <c:pt idx="1">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99.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Carrot Tanning Adults Cosmetics Crema 10 - 14 240Ml</c:v>
                </c:pt>
                <c:pt idx="1">
                  <c:v>Edgewell Hawaiian Tropic Other Sunscreen Adults Cosmetics Crema 50+ 240Ml</c:v>
                </c:pt>
                <c:pt idx="2">
                  <c:v>Edgewell Hawaiian Tropic Sheer Touch Sunscreen Adults Cosmetics Crema 30 - 49 240Ml</c:v>
                </c:pt>
                <c:pt idx="3">
                  <c:v>Edgewell Hawaiian Tropic Sheer Touch Sunscreen Adults Cosmetics Crema 50 120Ml</c:v>
                </c:pt>
              </c:strCache>
            </c:strRef>
          </c:cat>
          <c:val>
            <c:numRef>
              <c:f>Sheet1!$B$2:$B$5</c:f>
              <c:numCache>
                <c:formatCode>General</c:formatCode>
                <c:ptCount val="4"/>
                <c:pt idx="0">
                  <c:v>299.0</c:v>
                </c:pt>
                <c:pt idx="1">
                  <c:v>350.0</c:v>
                </c:pt>
                <c:pt idx="2">
                  <c:v>299.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Island Sport Sunscreen Adults Sport Liquido 50 6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Sheer Touch Sunscreen Adults Cosmetics Liquido 30 - 49 60Ml</c:v>
                </c:pt>
              </c:strCache>
            </c:strRef>
          </c:cat>
          <c:val>
            <c:numRef>
              <c:f>Sheet1!$B$2:$B$7</c:f>
              <c:numCache>
                <c:formatCode>General</c:formatCode>
                <c:ptCount val="6"/>
                <c:pt idx="0">
                  <c:v>105.0</c:v>
                </c:pt>
                <c:pt idx="1">
                  <c:v>205.0</c:v>
                </c:pt>
                <c:pt idx="2">
                  <c:v>350.0</c:v>
                </c:pt>
                <c:pt idx="3">
                  <c:v>350.0</c:v>
                </c:pt>
                <c:pt idx="4">
                  <c:v>12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dvanced Protection Sunscreen Adults Cosmetics Liquido 50+ 240Ml</c:v>
                </c:pt>
              </c:strCache>
            </c:strRef>
          </c:cat>
          <c:val>
            <c:numRef>
              <c:f>Sheet1!$B$2:$B$2</c:f>
              <c:numCache>
                <c:formatCode>General</c:formatCode>
                <c:ptCount val="1"/>
                <c:pt idx="0">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qua Protect Sunscreen Adults Cosmetics Spray Liquido 50+ 170Ml</c:v>
                </c:pt>
                <c:pt idx="1">
                  <c:v>Edgewell Banana Boat Dry Balance Sunscreen Adults Sport Spray Liquido 50 220Ml</c:v>
                </c:pt>
              </c:strCache>
            </c:strRef>
          </c:cat>
          <c:val>
            <c:numRef>
              <c:f>Sheet1!$B$2:$B$3</c:f>
              <c:numCache>
                <c:formatCode>General</c:formatCode>
                <c:ptCount val="2"/>
                <c:pt idx="0">
                  <c:v>349.0</c:v>
                </c:pt>
                <c:pt idx="1">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99.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Carrot Tanning Adults Cosmetics Crema 10 - 14 240Ml</c:v>
                </c:pt>
                <c:pt idx="1">
                  <c:v>Edgewell Hawaiian Tropic Other Sunscreen Adults Cosmetics Crema 50+ 240Ml</c:v>
                </c:pt>
                <c:pt idx="2">
                  <c:v>Edgewell Hawaiian Tropic Sheer Touch Sunscreen Adults Cosmetics Crema 30 - 49 240Ml</c:v>
                </c:pt>
                <c:pt idx="3">
                  <c:v>Edgewell Hawaiian Tropic Sheer Touch Sunscreen Adults Cosmetics Crema 50 120Ml</c:v>
                </c:pt>
              </c:strCache>
            </c:strRef>
          </c:cat>
          <c:val>
            <c:numRef>
              <c:f>Sheet1!$B$2:$B$5</c:f>
              <c:numCache>
                <c:formatCode>General</c:formatCode>
                <c:ptCount val="4"/>
                <c:pt idx="0">
                  <c:v>299.0</c:v>
                </c:pt>
                <c:pt idx="1">
                  <c:v>350.0</c:v>
                </c:pt>
                <c:pt idx="2">
                  <c:v>299.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strCache>
            </c:strRef>
          </c:cat>
          <c:val>
            <c:numRef>
              <c:f>Sheet1!$B$2:$B$5</c:f>
              <c:numCache>
                <c:formatCode>General</c:formatCode>
                <c:ptCount val="4"/>
                <c:pt idx="0">
                  <c:v>305.0</c:v>
                </c:pt>
                <c:pt idx="1">
                  <c:v>305.0</c:v>
                </c:pt>
                <c:pt idx="2">
                  <c:v>335.0</c:v>
                </c:pt>
                <c:pt idx="3">
                  <c:v>3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Island Sport Sunscreen Adults Sport Liquido 50 6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Sheer Touch Sunscreen Adults Cosmetics Liquido 30 - 49 60Ml</c:v>
                </c:pt>
              </c:strCache>
            </c:strRef>
          </c:cat>
          <c:val>
            <c:numRef>
              <c:f>Sheet1!$B$2:$B$7</c:f>
              <c:numCache>
                <c:formatCode>General</c:formatCode>
                <c:ptCount val="6"/>
                <c:pt idx="0">
                  <c:v>105.0</c:v>
                </c:pt>
                <c:pt idx="1">
                  <c:v>205.0</c:v>
                </c:pt>
                <c:pt idx="2">
                  <c:v>350.0</c:v>
                </c:pt>
                <c:pt idx="3">
                  <c:v>350.0</c:v>
                </c:pt>
                <c:pt idx="4">
                  <c:v>12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Ozono Sunscreen Adults Cosmetics Spray Liquido 50+ 180Ml</c:v>
                </c:pt>
              </c:strCache>
            </c:strRef>
          </c:cat>
          <c:val>
            <c:numRef>
              <c:f>Sheet1!$B$2:$B$2</c:f>
              <c:numCache>
                <c:formatCode>General</c:formatCode>
                <c:ptCount val="1"/>
                <c:pt idx="0">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99.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Carrot Tanning Adults Cosmetics Crema 10 - 14 240Ml</c:v>
                </c:pt>
                <c:pt idx="1">
                  <c:v>Edgewell Hawaiian Tropic Other Sunscreen Adults Cosmetics Crema 50+ 240Ml</c:v>
                </c:pt>
                <c:pt idx="2">
                  <c:v>Edgewell Hawaiian Tropic Sheer Touch Sunscreen Adults Cosmetics Crema 30 - 49 240Ml</c:v>
                </c:pt>
                <c:pt idx="3">
                  <c:v>Edgewell Hawaiian Tropic Sheer Touch Sunscreen Adults Cosmetics Crema 50 120Ml</c:v>
                </c:pt>
              </c:strCache>
            </c:strRef>
          </c:cat>
          <c:val>
            <c:numRef>
              <c:f>Sheet1!$B$2:$B$5</c:f>
              <c:numCache>
                <c:formatCode>General</c:formatCode>
                <c:ptCount val="4"/>
                <c:pt idx="0">
                  <c:v>299.0</c:v>
                </c:pt>
                <c:pt idx="1">
                  <c:v>350.0</c:v>
                </c:pt>
                <c:pt idx="2">
                  <c:v>299.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Island Sport Sunscreen Adults Sport Liquido 50 60Ml</c:v>
                </c:pt>
                <c:pt idx="1">
                  <c:v>Edgewell Hawaiian Tropic Ozono Sunscreen Adults Cosmetics Liquido 50+ 120Ml</c:v>
                </c:pt>
                <c:pt idx="2">
                  <c:v>Edgewell Hawaiian Tropic Ozono Sunscreen Adults Cosmetics Liquido 50+ 180Ml</c:v>
                </c:pt>
                <c:pt idx="3">
                  <c:v>Edgewell Hawaiian Tropic Ozono Sunscreen Adults Cosmetics Liquido 50+ 240Ml</c:v>
                </c:pt>
                <c:pt idx="4">
                  <c:v>Edgewell Hawaiian Tropic Ozono Sunscreen Adults Cosmetics Liquido 50+ 90Ml</c:v>
                </c:pt>
                <c:pt idx="5">
                  <c:v>Edgewell Hawaiian Tropic Sheer Touch Sunscreen Adults Cosmetics Liquido 30 - 49 60Ml</c:v>
                </c:pt>
              </c:strCache>
            </c:strRef>
          </c:cat>
          <c:val>
            <c:numRef>
              <c:f>Sheet1!$B$2:$B$7</c:f>
              <c:numCache>
                <c:formatCode>General</c:formatCode>
                <c:ptCount val="6"/>
                <c:pt idx="0">
                  <c:v>105.0</c:v>
                </c:pt>
                <c:pt idx="1">
                  <c:v>205.0</c:v>
                </c:pt>
                <c:pt idx="2">
                  <c:v>350.0</c:v>
                </c:pt>
                <c:pt idx="3">
                  <c:v>350.0</c:v>
                </c:pt>
                <c:pt idx="4">
                  <c:v>12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dvanced Protection Sunscreen Adults Cosmetics Liquido 50+ 240Ml</c:v>
                </c:pt>
              </c:strCache>
            </c:strRef>
          </c:cat>
          <c:val>
            <c:numRef>
              <c:f>Sheet1!$B$2:$B$2</c:f>
              <c:numCache>
                <c:formatCode>General</c:formatCode>
                <c:ptCount val="1"/>
                <c:pt idx="0">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7.5</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Tanning Tanning Adults Cosmetics Spray Aceite 0 - 5 237Ml</c:v>
                </c:pt>
              </c:strCache>
            </c:strRef>
          </c:cat>
          <c:val>
            <c:numRef>
              <c:f>Sheet1!$B$2:$B$13</c:f>
              <c:numCache>
                <c:formatCode>General</c:formatCode>
                <c:ptCount val="12"/>
                <c:pt idx="0">
                  <c:v>310.0</c:v>
                </c:pt>
                <c:pt idx="1">
                  <c:v>105.0</c:v>
                </c:pt>
                <c:pt idx="2">
                  <c:v>305.0</c:v>
                </c:pt>
                <c:pt idx="3">
                  <c:v>349.0</c:v>
                </c:pt>
                <c:pt idx="4">
                  <c:v>305.0</c:v>
                </c:pt>
                <c:pt idx="5">
                  <c:v>367.5</c:v>
                </c:pt>
                <c:pt idx="6">
                  <c:v>305.0</c:v>
                </c:pt>
                <c:pt idx="7">
                  <c:v>335.0</c:v>
                </c:pt>
                <c:pt idx="8">
                  <c:v>385.0</c:v>
                </c:pt>
                <c:pt idx="9">
                  <c:v>305.0</c:v>
                </c:pt>
                <c:pt idx="10">
                  <c:v>310.0</c:v>
                </c:pt>
                <c:pt idx="11">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dLbl>
              <c:idx val="1"/>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Ozono Sunscreen Adults Cosmetics Spray Liquido 50+ 180Ml</c:v>
                </c:pt>
                <c:pt idx="1">
                  <c:v>Edgewell Hawaiian Tropic Tanning Sunscreen Adults Cosmetics Spray Liquido 15 - 19 220Ml</c:v>
                </c:pt>
              </c:strCache>
            </c:strRef>
          </c:cat>
          <c:val>
            <c:numRef>
              <c:f>Sheet1!$B$2:$B$3</c:f>
              <c:numCache>
                <c:formatCode>General</c:formatCode>
                <c:ptCount val="2"/>
                <c:pt idx="0">
                  <c:v>385.0</c:v>
                </c:pt>
                <c:pt idx="1">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qua Protect Sunscreen Adults Cosmetics Spray Liquido 50+ 170Ml</c:v>
                </c:pt>
                <c:pt idx="1">
                  <c:v>Edgewell Banana Boat Dry Balance Sunscreen Adults Sport Spray Liquido 50 220Ml</c:v>
                </c:pt>
              </c:strCache>
            </c:strRef>
          </c:cat>
          <c:val>
            <c:numRef>
              <c:f>Sheet1!$B$2:$B$3</c:f>
              <c:numCache>
                <c:formatCode>General</c:formatCode>
                <c:ptCount val="2"/>
                <c:pt idx="0">
                  <c:v>349.0</c:v>
                </c:pt>
                <c:pt idx="1">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99.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Carrot Tanning Adults Cosmetics Crema 10 - 14 240Ml</c:v>
                </c:pt>
                <c:pt idx="1">
                  <c:v>Edgewell Hawaiian Tropic Other Sunscreen Adults Cosmetics Crema 50+ 240Ml</c:v>
                </c:pt>
                <c:pt idx="2">
                  <c:v>Edgewell Hawaiian Tropic Sheer Touch Sunscreen Adults Cosmetics Crema 30 - 49 240Ml</c:v>
                </c:pt>
                <c:pt idx="3">
                  <c:v>Edgewell Hawaiian Tropic Sheer Touch Sunscreen Adults Cosmetics Crema 50 120Ml</c:v>
                </c:pt>
              </c:strCache>
            </c:strRef>
          </c:cat>
          <c:val>
            <c:numRef>
              <c:f>Sheet1!$B$2:$B$5</c:f>
              <c:numCache>
                <c:formatCode>General</c:formatCode>
                <c:ptCount val="4"/>
                <c:pt idx="0">
                  <c:v>299.0</c:v>
                </c:pt>
                <c:pt idx="1">
                  <c:v>350.0</c:v>
                </c:pt>
                <c:pt idx="2">
                  <c:v>299.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strCache>
            </c:strRef>
          </c:cat>
          <c:val>
            <c:numRef>
              <c:f>Sheet1!$B$2:$B$5</c:f>
              <c:numCache>
                <c:formatCode>General</c:formatCode>
                <c:ptCount val="4"/>
                <c:pt idx="0">
                  <c:v>305.0</c:v>
                </c:pt>
                <c:pt idx="1">
                  <c:v>305.0</c:v>
                </c:pt>
                <c:pt idx="2">
                  <c:v>335.0</c:v>
                </c:pt>
                <c:pt idx="3">
                  <c:v>3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125.0</a:t>
                    </a:r>
                  </a:p>
                </c:rich>
              </c:tx>
              <c:showLegendKey val="0"/>
              <c:showVal val="1"/>
              <c:showCatName val="0"/>
              <c:showSerName val="0"/>
              <c:showPercent val="0"/>
              <c:showBubbleSize val="0"/>
            </c:dLbl>
            <c:dLbl>
              <c:idx val="4"/>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Hawaiian Tropic Island Sport Sunscreen Adults Sport Liquido 50 60Ml</c:v>
                </c:pt>
                <c:pt idx="1">
                  <c:v>Edgewell Hawaiian Tropic Ozono Sunscreen Adults Cosmetics Liquido 50+ 120Ml</c:v>
                </c:pt>
                <c:pt idx="2">
                  <c:v>Edgewell Hawaiian Tropic Ozono Sunscreen Adults Cosmetics Liquido 50+ 240Ml</c:v>
                </c:pt>
                <c:pt idx="3">
                  <c:v>Edgewell Hawaiian Tropic Ozono Sunscreen Adults Cosmetics Liquido 50+ 90Ml</c:v>
                </c:pt>
                <c:pt idx="4">
                  <c:v>Edgewell Hawaiian Tropic Sheer Touch Sunscreen Adults Cosmetics Liquido 30 - 49 60Ml</c:v>
                </c:pt>
              </c:strCache>
            </c:strRef>
          </c:cat>
          <c:val>
            <c:numRef>
              <c:f>Sheet1!$B$2:$B$6</c:f>
              <c:numCache>
                <c:formatCode>General</c:formatCode>
                <c:ptCount val="5"/>
                <c:pt idx="0">
                  <c:v>105.0</c:v>
                </c:pt>
                <c:pt idx="1">
                  <c:v>205.0</c:v>
                </c:pt>
                <c:pt idx="2">
                  <c:v>350.0</c:v>
                </c:pt>
                <c:pt idx="3">
                  <c:v>125.0</c:v>
                </c:pt>
                <c:pt idx="4">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eauty Care Antioxidant Sunscreen Adults Cosmetics Liquido 50+ 50Ml</c:v>
                </c:pt>
                <c:pt idx="1">
                  <c:v>Edgewell Beauty Care Sensitive Sunscreen Adults Cosmetics Liquido 50+ 50Ml</c:v>
                </c:pt>
              </c:strCache>
            </c:strRef>
          </c:cat>
          <c:val>
            <c:numRef>
              <c:f>Sheet1!$B$2:$B$3</c:f>
              <c:numCache>
                <c:formatCode>General</c:formatCode>
                <c:ptCount val="2"/>
                <c:pt idx="0">
                  <c:v>179.0</c:v>
                </c:pt>
                <c:pt idx="1">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eauty Care Antioxidant Sunscreen Adults Cosmetics Liquido 50+ 50Ml</c:v>
                </c:pt>
                <c:pt idx="1">
                  <c:v>Edgewell Beauty Care Sensitive Sunscreen Adults Cosmetics Liquido 50+ 50Ml</c:v>
                </c:pt>
              </c:strCache>
            </c:strRef>
          </c:cat>
          <c:val>
            <c:numRef>
              <c:f>Sheet1!$B$2:$B$3</c:f>
              <c:numCache>
                <c:formatCode>General</c:formatCode>
                <c:ptCount val="2"/>
                <c:pt idx="0">
                  <c:v>179.0</c:v>
                </c:pt>
                <c:pt idx="1">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1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Ozono Sunscreen Adults Cosmetics Spray Liquido 50+ 180Ml</c:v>
                </c:pt>
              </c:strCache>
            </c:strRef>
          </c:cat>
          <c:val>
            <c:numRef>
              <c:f>Sheet1!$B$2:$B$2</c:f>
              <c:numCache>
                <c:formatCode>General</c:formatCode>
                <c:ptCount val="1"/>
                <c:pt idx="0">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Other Sunscreen Adults Cosmetics Crema 50+ 240Ml</c:v>
                </c:pt>
                <c:pt idx="1">
                  <c:v>Edgewell Hawaiian Tropic Sheer Touch Sunscreen Adults Cosmetics Crema 50 120Ml</c:v>
                </c:pt>
              </c:strCache>
            </c:strRef>
          </c:cat>
          <c:val>
            <c:numRef>
              <c:f>Sheet1!$B$2:$B$3</c:f>
              <c:numCache>
                <c:formatCode>General</c:formatCode>
                <c:ptCount val="2"/>
                <c:pt idx="0">
                  <c:v>350.0</c:v>
                </c:pt>
                <c:pt idx="1">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qua Protect Sunscreen Adults Cosmetics Crema 50+ 236Ml</c:v>
                </c:pt>
                <c:pt idx="1">
                  <c:v>Edgewell Banana Boat Aqua Protect Sunscreen Adults Sport Crema 50+ 236Ml</c:v>
                </c:pt>
                <c:pt idx="2">
                  <c:v>Edgewell Banana Boat Dry Balance Sunscreen Adults Sport Crema 50+ 180Ml</c:v>
                </c:pt>
              </c:strCache>
            </c:strRef>
          </c:cat>
          <c:val>
            <c:numRef>
              <c:f>Sheet1!$B$2:$B$4</c:f>
              <c:numCache>
                <c:formatCode>General</c:formatCode>
                <c:ptCount val="3"/>
                <c:pt idx="0">
                  <c:v>305.0</c:v>
                </c:pt>
                <c:pt idx="1">
                  <c:v>305.0</c:v>
                </c:pt>
                <c:pt idx="2">
                  <c:v>33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12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Ozono Sunscreen Adults Cosmetics Liquido 50+ 240Ml</c:v>
                </c:pt>
                <c:pt idx="1">
                  <c:v>Edgewell Hawaiian Tropic Ozono Sunscreen Adults Cosmetics Liquido 50+ 90Ml</c:v>
                </c:pt>
              </c:strCache>
            </c:strRef>
          </c:cat>
          <c:val>
            <c:numRef>
              <c:f>Sheet1!$B$2:$B$3</c:f>
              <c:numCache>
                <c:formatCode>General</c:formatCode>
                <c:ptCount val="2"/>
                <c:pt idx="0">
                  <c:v>350.0</c:v>
                </c:pt>
                <c:pt idx="1">
                  <c:v>12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dvanced Protection Sunscreen Adults Cosmetics Liquido 50+ 240Ml</c:v>
                </c:pt>
              </c:strCache>
            </c:strRef>
          </c:cat>
          <c:val>
            <c:numRef>
              <c:f>Sheet1!$B$2:$B$2</c:f>
              <c:numCache>
                <c:formatCode>General</c:formatCode>
                <c:ptCount val="1"/>
                <c:pt idx="0">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eauty Care Sensitive Sunscreen Adults Cosmetics Liquido 50+ 50Ml</c:v>
                </c:pt>
              </c:strCache>
            </c:strRef>
          </c:cat>
          <c:val>
            <c:numRef>
              <c:f>Sheet1!$B$2:$B$2</c:f>
              <c:numCache>
                <c:formatCode>General</c:formatCode>
                <c:ptCount val="1"/>
                <c:pt idx="0">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99.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Carrot Tanning Adults Cosmetics Crema 10 - 14 240Ml</c:v>
                </c:pt>
                <c:pt idx="1">
                  <c:v>Edgewell Hawaiian Tropic Other Sunscreen Adults Cosmetics Crema 50+ 240Ml</c:v>
                </c:pt>
                <c:pt idx="2">
                  <c:v>Edgewell Hawaiian Tropic Sheer Touch Sunscreen Adults Cosmetics Crema 30 - 49 240Ml</c:v>
                </c:pt>
                <c:pt idx="3">
                  <c:v>Edgewell Hawaiian Tropic Sheer Touch Sunscreen Adults Cosmetics Crema 50 120Ml</c:v>
                </c:pt>
              </c:strCache>
            </c:strRef>
          </c:cat>
          <c:val>
            <c:numRef>
              <c:f>Sheet1!$B$2:$B$5</c:f>
              <c:numCache>
                <c:formatCode>General</c:formatCode>
                <c:ptCount val="4"/>
                <c:pt idx="0">
                  <c:v>299.0</c:v>
                </c:pt>
                <c:pt idx="1">
                  <c:v>350.0</c:v>
                </c:pt>
                <c:pt idx="2">
                  <c:v>299.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125.0</a:t>
                    </a:r>
                  </a:p>
                </c:rich>
              </c:tx>
              <c:showLegendKey val="0"/>
              <c:showVal val="1"/>
              <c:showCatName val="0"/>
              <c:showSerName val="0"/>
              <c:showPercent val="0"/>
              <c:showBubbleSize val="0"/>
            </c:dLbl>
            <c:dLbl>
              <c:idx val="3"/>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Other Sunscreen Adults Cosmetics Crema 50+ 240Ml</c:v>
                </c:pt>
                <c:pt idx="1">
                  <c:v>Edgewell Hawaiian Tropic Ozono Sunscreen Adults Cosmetics Liquido 50+ 240Ml</c:v>
                </c:pt>
                <c:pt idx="2">
                  <c:v>Edgewell Hawaiian Tropic Ozono Sunscreen Adults Cosmetics Liquido 50+ 90Ml</c:v>
                </c:pt>
                <c:pt idx="3">
                  <c:v>Edgewell Hawaiian Tropic Sheer Touch Sunscreen Adults Cosmetics Crema 50 120Ml</c:v>
                </c:pt>
              </c:strCache>
            </c:strRef>
          </c:cat>
          <c:val>
            <c:numRef>
              <c:f>Sheet1!$B$2:$B$5</c:f>
              <c:numCache>
                <c:formatCode>General</c:formatCode>
                <c:ptCount val="4"/>
                <c:pt idx="0">
                  <c:v>350.0</c:v>
                </c:pt>
                <c:pt idx="1">
                  <c:v>350.0</c:v>
                </c:pt>
                <c:pt idx="2">
                  <c:v>125.0</c:v>
                </c:pt>
                <c:pt idx="3">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strCache>
            </c:strRef>
          </c:cat>
          <c:val>
            <c:numRef>
              <c:f>Sheet1!$B$2:$B$5</c:f>
              <c:numCache>
                <c:formatCode>General</c:formatCode>
                <c:ptCount val="4"/>
                <c:pt idx="0">
                  <c:v>305.0</c:v>
                </c:pt>
                <c:pt idx="1">
                  <c:v>305.0</c:v>
                </c:pt>
                <c:pt idx="2">
                  <c:v>335.0</c:v>
                </c:pt>
                <c:pt idx="3">
                  <c:v>3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05.0</a:t>
                    </a:r>
                  </a:p>
                </c:rich>
              </c:tx>
              <c:showLegendKey val="0"/>
              <c:showVal val="1"/>
              <c:showCatName val="0"/>
              <c:showSerName val="0"/>
              <c:showPercent val="0"/>
              <c:showBubbleSize val="0"/>
            </c:dLbl>
            <c:dLbl>
              <c:idx val="2"/>
              <c:tx>
                <c:rich>
                  <a:bodyPr/>
                  <a:lstStyle/>
                  <a:p>
                    <a:r>
                      <a:t>350.0</a:t>
                    </a:r>
                  </a:p>
                </c:rich>
              </c:tx>
              <c:showLegendKey val="0"/>
              <c:showVal val="1"/>
              <c:showCatName val="0"/>
              <c:showSerName val="0"/>
              <c:showPercent val="0"/>
              <c:showBubbleSize val="0"/>
            </c:dLbl>
            <c:dLbl>
              <c:idx val="3"/>
              <c:tx>
                <c:rich>
                  <a:bodyPr/>
                  <a:lstStyle/>
                  <a:p>
                    <a:r>
                      <a:t>125.0</a:t>
                    </a:r>
                  </a:p>
                </c:rich>
              </c:tx>
              <c:showLegendKey val="0"/>
              <c:showVal val="1"/>
              <c:showCatName val="0"/>
              <c:showSerName val="0"/>
              <c:showPercent val="0"/>
              <c:showBubbleSize val="0"/>
            </c:dLbl>
            <c:dLbl>
              <c:idx val="4"/>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Hawaiian Tropic Island Sport Sunscreen Adults Sport Liquido 50 60Ml</c:v>
                </c:pt>
                <c:pt idx="1">
                  <c:v>Edgewell Hawaiian Tropic Ozono Sunscreen Adults Cosmetics Liquido 50+ 120Ml</c:v>
                </c:pt>
                <c:pt idx="2">
                  <c:v>Edgewell Hawaiian Tropic Ozono Sunscreen Adults Cosmetics Liquido 50+ 240Ml</c:v>
                </c:pt>
                <c:pt idx="3">
                  <c:v>Edgewell Hawaiian Tropic Ozono Sunscreen Adults Cosmetics Liquido 50+ 90Ml</c:v>
                </c:pt>
                <c:pt idx="4">
                  <c:v>Edgewell Hawaiian Tropic Sheer Touch Sunscreen Adults Cosmetics Liquido 30 - 49 60Ml</c:v>
                </c:pt>
              </c:strCache>
            </c:strRef>
          </c:cat>
          <c:val>
            <c:numRef>
              <c:f>Sheet1!$B$2:$B$6</c:f>
              <c:numCache>
                <c:formatCode>General</c:formatCode>
                <c:ptCount val="5"/>
                <c:pt idx="0">
                  <c:v>105.0</c:v>
                </c:pt>
                <c:pt idx="1">
                  <c:v>205.0</c:v>
                </c:pt>
                <c:pt idx="2">
                  <c:v>350.0</c:v>
                </c:pt>
                <c:pt idx="3">
                  <c:v>125.0</c:v>
                </c:pt>
                <c:pt idx="4">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dvanced Protection Sunscreen Adults Cosmetics Liquido 50+ 240Ml</c:v>
                </c:pt>
              </c:strCache>
            </c:strRef>
          </c:cat>
          <c:val>
            <c:numRef>
              <c:f>Sheet1!$B$2:$B$2</c:f>
              <c:numCache>
                <c:formatCode>General</c:formatCode>
                <c:ptCount val="1"/>
                <c:pt idx="0">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Ozono Sunscreen Adults Cosmetics Spray Liquido 50+ 180Ml</c:v>
                </c:pt>
              </c:strCache>
            </c:strRef>
          </c:cat>
          <c:val>
            <c:numRef>
              <c:f>Sheet1!$B$2:$B$2</c:f>
              <c:numCache>
                <c:formatCode>General</c:formatCode>
                <c:ptCount val="1"/>
                <c:pt idx="0">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7.5</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335.0</a:t>
                    </a:r>
                  </a:p>
                </c:rich>
              </c:tx>
              <c:showLegendKey val="0"/>
              <c:showVal val="1"/>
              <c:showCatName val="0"/>
              <c:showSerName val="0"/>
              <c:showPercent val="0"/>
              <c:showBubbleSize val="0"/>
            </c:dLbl>
            <c:dLbl>
              <c:idx val="9"/>
              <c:tx>
                <c:rich>
                  <a:bodyPr/>
                  <a:lstStyle/>
                  <a:p>
                    <a:r>
                      <a:t>385.0</a:t>
                    </a:r>
                  </a:p>
                </c:rich>
              </c:tx>
              <c:showLegendKey val="0"/>
              <c:showVal val="1"/>
              <c:showCatName val="0"/>
              <c:showSerName val="0"/>
              <c:showPercent val="0"/>
              <c:showBubbleSize val="0"/>
            </c:dLbl>
            <c:dLbl>
              <c:idx val="10"/>
              <c:tx>
                <c:rich>
                  <a:bodyPr/>
                  <a:lstStyle/>
                  <a:p>
                    <a:r>
                      <a:t>305.0</a:t>
                    </a:r>
                  </a:p>
                </c:rich>
              </c:tx>
              <c:showLegendKey val="0"/>
              <c:showVal val="1"/>
              <c:showCatName val="0"/>
              <c:showSerName val="0"/>
              <c:showPercent val="0"/>
              <c:showBubbleSize val="0"/>
            </c:dLbl>
            <c:dLbl>
              <c:idx val="11"/>
              <c:tx>
                <c:rich>
                  <a:bodyPr/>
                  <a:lstStyle/>
                  <a:p>
                    <a:r>
                      <a:t>310.0</a:t>
                    </a:r>
                  </a:p>
                </c:rich>
              </c:tx>
              <c:showLegendKey val="0"/>
              <c:showVal val="1"/>
              <c:showCatName val="0"/>
              <c:showSerName val="0"/>
              <c:showPercent val="0"/>
              <c:showBubbleSize val="0"/>
            </c:dLbl>
            <c:dLbl>
              <c:idx val="12"/>
              <c:tx>
                <c:rich>
                  <a:bodyPr/>
                  <a:lstStyle/>
                  <a:p>
                    <a:r>
                      <a:t>249.0</a:t>
                    </a:r>
                  </a:p>
                </c:rich>
              </c:tx>
              <c:showLegendKey val="0"/>
              <c:showVal val="1"/>
              <c:showCatName val="0"/>
              <c:showSerName val="0"/>
              <c:showPercent val="0"/>
              <c:showBubbleSize val="0"/>
            </c:dLbl>
            <c:dLbl>
              <c:idx val="13"/>
              <c:tx>
                <c:rich>
                  <a:bodyPr/>
                  <a:lstStyle/>
                  <a:p>
                    <a:r>
                      <a:t>242.0</a:t>
                    </a:r>
                  </a:p>
                </c:rich>
              </c:tx>
              <c:showLegendKey val="0"/>
              <c:showVal val="1"/>
              <c:showCatName val="0"/>
              <c:showSerName val="0"/>
              <c:showPercent val="0"/>
              <c:showBubbleSize val="0"/>
            </c:dLbl>
            <c:dLbl>
              <c:idx val="14"/>
              <c:tx>
                <c:rich>
                  <a:bodyPr/>
                  <a:lstStyle/>
                  <a:p>
                    <a:r>
                      <a:t>279.0</a:t>
                    </a:r>
                  </a:p>
                </c:rich>
              </c:tx>
              <c:showLegendKey val="0"/>
              <c:showVal val="1"/>
              <c:showCatName val="0"/>
              <c:showSerName val="0"/>
              <c:showPercent val="0"/>
              <c:showBubbleSize val="0"/>
            </c:dLbl>
            <c:dLbl>
              <c:idx val="15"/>
              <c:tx>
                <c:rich>
                  <a:bodyPr/>
                  <a:lstStyle/>
                  <a:p>
                    <a:r>
                      <a:t>215.0</a:t>
                    </a:r>
                  </a:p>
                </c:rich>
              </c:tx>
              <c:showLegendKey val="0"/>
              <c:showVal val="1"/>
              <c:showCatName val="0"/>
              <c:showSerName val="0"/>
              <c:showPercent val="0"/>
              <c:showBubbleSize val="0"/>
            </c:dLbl>
            <c:dLbl>
              <c:idx val="16"/>
              <c:tx>
                <c:rich>
                  <a:bodyPr/>
                  <a:lstStyle/>
                  <a:p>
                    <a:r>
                      <a:t>240.0</a:t>
                    </a:r>
                  </a:p>
                </c:rich>
              </c:tx>
              <c:showLegendKey val="0"/>
              <c:showVal val="1"/>
              <c:showCatName val="0"/>
              <c:showSerName val="0"/>
              <c:showPercent val="0"/>
              <c:showBubbleSize val="0"/>
            </c:dLbl>
            <c:dLbl>
              <c:idx val="17"/>
              <c:tx>
                <c:rich>
                  <a:bodyPr/>
                  <a:lstStyle/>
                  <a:p>
                    <a:r>
                      <a:t>179.0</a:t>
                    </a:r>
                  </a:p>
                </c:rich>
              </c:tx>
              <c:showLegendKey val="0"/>
              <c:showVal val="1"/>
              <c:showCatName val="0"/>
              <c:showSerName val="0"/>
              <c:showPercent val="0"/>
              <c:showBubbleSize val="0"/>
            </c:dLbl>
            <c:dLbl>
              <c:idx val="18"/>
              <c:tx>
                <c:rich>
                  <a:bodyPr/>
                  <a:lstStyle/>
                  <a:p>
                    <a:r>
                      <a:t>179.0</a:t>
                    </a:r>
                  </a:p>
                </c:rich>
              </c:tx>
              <c:showLegendKey val="0"/>
              <c:showVal val="1"/>
              <c:showCatName val="0"/>
              <c:showSerName val="0"/>
              <c:showPercent val="0"/>
              <c:showBubbleSize val="0"/>
            </c:dLbl>
            <c:dLbl>
              <c:idx val="19"/>
              <c:tx>
                <c:rich>
                  <a:bodyPr/>
                  <a:lstStyle/>
                  <a:p>
                    <a:r>
                      <a:t>179.0</a:t>
                    </a:r>
                  </a:p>
                </c:rich>
              </c:tx>
              <c:showLegendKey val="0"/>
              <c:showVal val="1"/>
              <c:showCatName val="0"/>
              <c:showSerName val="0"/>
              <c:showPercent val="0"/>
              <c:showBubbleSize val="0"/>
            </c:dLbl>
            <c:dLbl>
              <c:idx val="20"/>
              <c:tx>
                <c:rich>
                  <a:bodyPr/>
                  <a:lstStyle/>
                  <a:p>
                    <a:r>
                      <a:t>299.0</a:t>
                    </a:r>
                  </a:p>
                </c:rich>
              </c:tx>
              <c:showLegendKey val="0"/>
              <c:showVal val="1"/>
              <c:showCatName val="0"/>
              <c:showSerName val="0"/>
              <c:showPercent val="0"/>
              <c:showBubbleSize val="0"/>
            </c:dLbl>
            <c:dLbl>
              <c:idx val="21"/>
              <c:tx>
                <c:rich>
                  <a:bodyPr/>
                  <a:lstStyle/>
                  <a:p>
                    <a:r>
                      <a:t>299.0</a:t>
                    </a:r>
                  </a:p>
                </c:rich>
              </c:tx>
              <c:showLegendKey val="0"/>
              <c:showVal val="1"/>
              <c:showCatName val="0"/>
              <c:showSerName val="0"/>
              <c:showPercent val="0"/>
              <c:showBubbleSize val="0"/>
            </c:dLbl>
            <c:dLbl>
              <c:idx val="22"/>
              <c:tx>
                <c:rich>
                  <a:bodyPr/>
                  <a:lstStyle/>
                  <a:p>
                    <a:r>
                      <a:t>105.0</a:t>
                    </a:r>
                  </a:p>
                </c:rich>
              </c:tx>
              <c:showLegendKey val="0"/>
              <c:showVal val="1"/>
              <c:showCatName val="0"/>
              <c:showSerName val="0"/>
              <c:showPercent val="0"/>
              <c:showBubbleSize val="0"/>
            </c:dLbl>
            <c:dLbl>
              <c:idx val="23"/>
              <c:tx>
                <c:rich>
                  <a:bodyPr/>
                  <a:lstStyle/>
                  <a:p>
                    <a:r>
                      <a:t>350.0</a:t>
                    </a:r>
                  </a:p>
                </c:rich>
              </c:tx>
              <c:showLegendKey val="0"/>
              <c:showVal val="1"/>
              <c:showCatName val="0"/>
              <c:showSerName val="0"/>
              <c:showPercent val="0"/>
              <c:showBubbleSize val="0"/>
            </c:dLbl>
            <c:dLbl>
              <c:idx val="24"/>
              <c:tx>
                <c:rich>
                  <a:bodyPr/>
                  <a:lstStyle/>
                  <a:p>
                    <a:r>
                      <a:t>205.0</a:t>
                    </a:r>
                  </a:p>
                </c:rich>
              </c:tx>
              <c:showLegendKey val="0"/>
              <c:showVal val="1"/>
              <c:showCatName val="0"/>
              <c:showSerName val="0"/>
              <c:showPercent val="0"/>
              <c:showBubbleSize val="0"/>
            </c:dLbl>
            <c:dLbl>
              <c:idx val="25"/>
              <c:tx>
                <c:rich>
                  <a:bodyPr/>
                  <a:lstStyle/>
                  <a:p>
                    <a:r>
                      <a:t>350.0</a:t>
                    </a:r>
                  </a:p>
                </c:rich>
              </c:tx>
              <c:showLegendKey val="0"/>
              <c:showVal val="1"/>
              <c:showCatName val="0"/>
              <c:showSerName val="0"/>
              <c:showPercent val="0"/>
              <c:showBubbleSize val="0"/>
            </c:dLbl>
            <c:dLbl>
              <c:idx val="26"/>
              <c:tx>
                <c:rich>
                  <a:bodyPr/>
                  <a:lstStyle/>
                  <a:p>
                    <a:r>
                      <a:t>350.0</a:t>
                    </a:r>
                  </a:p>
                </c:rich>
              </c:tx>
              <c:showLegendKey val="0"/>
              <c:showVal val="1"/>
              <c:showCatName val="0"/>
              <c:showSerName val="0"/>
              <c:showPercent val="0"/>
              <c:showBubbleSize val="0"/>
            </c:dLbl>
            <c:dLbl>
              <c:idx val="27"/>
              <c:tx>
                <c:rich>
                  <a:bodyPr/>
                  <a:lstStyle/>
                  <a:p>
                    <a:r>
                      <a:t>125.0</a:t>
                    </a:r>
                  </a:p>
                </c:rich>
              </c:tx>
              <c:showLegendKey val="0"/>
              <c:showVal val="1"/>
              <c:showCatName val="0"/>
              <c:showSerName val="0"/>
              <c:showPercent val="0"/>
              <c:showBubbleSize val="0"/>
            </c:dLbl>
            <c:dLbl>
              <c:idx val="28"/>
              <c:tx>
                <c:rich>
                  <a:bodyPr/>
                  <a:lstStyle/>
                  <a:p>
                    <a:r>
                      <a:t>385.0</a:t>
                    </a:r>
                  </a:p>
                </c:rich>
              </c:tx>
              <c:showLegendKey val="0"/>
              <c:showVal val="1"/>
              <c:showCatName val="0"/>
              <c:showSerName val="0"/>
              <c:showPercent val="0"/>
              <c:showBubbleSize val="0"/>
            </c:dLbl>
            <c:dLbl>
              <c:idx val="29"/>
              <c:tx>
                <c:rich>
                  <a:bodyPr/>
                  <a:lstStyle/>
                  <a:p>
                    <a:r>
                      <a:t>299.0</a:t>
                    </a:r>
                  </a:p>
                </c:rich>
              </c:tx>
              <c:showLegendKey val="0"/>
              <c:showVal val="1"/>
              <c:showCatName val="0"/>
              <c:showSerName val="0"/>
              <c:showPercent val="0"/>
              <c:showBubbleSize val="0"/>
            </c:dLbl>
            <c:dLbl>
              <c:idx val="30"/>
              <c:tx>
                <c:rich>
                  <a:bodyPr/>
                  <a:lstStyle/>
                  <a:p>
                    <a:r>
                      <a:t>205.0</a:t>
                    </a:r>
                  </a:p>
                </c:rich>
              </c:tx>
              <c:showLegendKey val="0"/>
              <c:showVal val="1"/>
              <c:showCatName val="0"/>
              <c:showSerName val="0"/>
              <c:showPercent val="0"/>
              <c:showBubbleSize val="0"/>
            </c:dLbl>
            <c:dLbl>
              <c:idx val="31"/>
              <c:tx>
                <c:rich>
                  <a:bodyPr/>
                  <a:lstStyle/>
                  <a:p>
                    <a:r>
                      <a:t>105.0</a:t>
                    </a:r>
                  </a:p>
                </c:rich>
              </c:tx>
              <c:showLegendKey val="0"/>
              <c:showVal val="1"/>
              <c:showCatName val="0"/>
              <c:showSerName val="0"/>
              <c:showPercent val="0"/>
              <c:showBubbleSize val="0"/>
            </c:dLbl>
            <c:dLbl>
              <c:idx val="32"/>
              <c:tx>
                <c:rich>
                  <a:bodyPr/>
                  <a:lstStyle/>
                  <a:p>
                    <a:r>
                      <a:t>315.0</a:t>
                    </a:r>
                  </a:p>
                </c:rich>
              </c:tx>
              <c:showLegendKey val="0"/>
              <c:showVal val="1"/>
              <c:showCatName val="0"/>
              <c:showSerName val="0"/>
              <c:showPercent val="0"/>
              <c:showBubbleSize val="0"/>
            </c:dLbl>
            <c:dLbl>
              <c:idx val="33"/>
              <c:tx>
                <c:rich>
                  <a:bodyPr/>
                  <a:lstStyle/>
                  <a:p>
                    <a:r>
                      <a:t>819.0</a:t>
                    </a:r>
                  </a:p>
                </c:rich>
              </c:tx>
              <c:showLegendKey val="0"/>
              <c:showVal val="1"/>
              <c:showCatName val="0"/>
              <c:showSerName val="0"/>
              <c:showPercent val="0"/>
              <c:showBubbleSize val="0"/>
            </c:dLbl>
            <c:dLbl>
              <c:idx val="34"/>
              <c:tx>
                <c:rich>
                  <a:bodyPr/>
                  <a:lstStyle/>
                  <a:p>
                    <a:r>
                      <a:t>651.98</a:t>
                    </a:r>
                  </a:p>
                </c:rich>
              </c:tx>
              <c:showLegendKey val="0"/>
              <c:showVal val="1"/>
              <c:showCatName val="0"/>
              <c:showSerName val="0"/>
              <c:showPercent val="0"/>
              <c:showBubbleSize val="0"/>
            </c:dLbl>
            <c:dLbl>
              <c:idx val="35"/>
              <c:tx>
                <c:rich>
                  <a:bodyPr/>
                  <a:lstStyle/>
                  <a:p>
                    <a:r>
                      <a:t>659.0</a:t>
                    </a:r>
                  </a:p>
                </c:rich>
              </c:tx>
              <c:showLegendKey val="0"/>
              <c:showVal val="1"/>
              <c:showCatName val="0"/>
              <c:showSerName val="0"/>
              <c:showPercent val="0"/>
              <c:showBubbleSize val="0"/>
            </c:dLbl>
            <c:dLbl>
              <c:idx val="36"/>
              <c:tx>
                <c:rich>
                  <a:bodyPr/>
                  <a:lstStyle/>
                  <a:p>
                    <a:r>
                      <a:t>699.0</a:t>
                    </a:r>
                  </a:p>
                </c:rich>
              </c:tx>
              <c:showLegendKey val="0"/>
              <c:showVal val="1"/>
              <c:showCatName val="0"/>
              <c:showSerName val="0"/>
              <c:showPercent val="0"/>
              <c:showBubbleSize val="0"/>
            </c:dLbl>
            <c:dLbl>
              <c:idx val="37"/>
              <c:tx>
                <c:rich>
                  <a:bodyPr/>
                  <a:lstStyle/>
                  <a:p>
                    <a:r>
                      <a:t>549.0</a:t>
                    </a:r>
                  </a:p>
                </c:rich>
              </c:tx>
              <c:showLegendKey val="0"/>
              <c:showVal val="1"/>
              <c:showCatName val="0"/>
              <c:showSerName val="0"/>
              <c:showPercent val="0"/>
              <c:showBubbleSize val="0"/>
            </c:dLbl>
            <c:dLbl>
              <c:idx val="38"/>
              <c:tx>
                <c:rich>
                  <a:bodyPr/>
                  <a:lstStyle/>
                  <a:p>
                    <a:r>
                      <a:t>739.0</a:t>
                    </a:r>
                  </a:p>
                </c:rich>
              </c:tx>
              <c:showLegendKey val="0"/>
              <c:showVal val="1"/>
              <c:showCatName val="0"/>
              <c:showSerName val="0"/>
              <c:showPercent val="0"/>
              <c:showBubbleSize val="0"/>
            </c:dLbl>
            <c:dLbl>
              <c:idx val="39"/>
              <c:tx>
                <c:rich>
                  <a:bodyPr/>
                  <a:lstStyle/>
                  <a:p>
                    <a:r>
                      <a:t>829.0</a:t>
                    </a:r>
                  </a:p>
                </c:rich>
              </c:tx>
              <c:showLegendKey val="0"/>
              <c:showVal val="1"/>
              <c:showCatName val="0"/>
              <c:showSerName val="0"/>
              <c:showPercent val="0"/>
              <c:showBubbleSize val="0"/>
            </c:dLbl>
            <c:dLbl>
              <c:idx val="40"/>
              <c:tx>
                <c:rich>
                  <a:bodyPr/>
                  <a:lstStyle/>
                  <a:p>
                    <a:r>
                      <a:t>499.0</a:t>
                    </a:r>
                  </a:p>
                </c:rich>
              </c:tx>
              <c:showLegendKey val="0"/>
              <c:showVal val="1"/>
              <c:showCatName val="0"/>
              <c:showSerName val="0"/>
              <c:showPercent val="0"/>
              <c:showBubbleSize val="0"/>
            </c:dLbl>
            <c:dLbl>
              <c:idx val="41"/>
              <c:tx>
                <c:rich>
                  <a:bodyPr/>
                  <a:lstStyle/>
                  <a:p>
                    <a:r>
                      <a:t>92.0</a:t>
                    </a:r>
                  </a:p>
                </c:rich>
              </c:tx>
              <c:showLegendKey val="0"/>
              <c:showVal val="1"/>
              <c:showCatName val="0"/>
              <c:showSerName val="0"/>
              <c:showPercent val="0"/>
              <c:showBubbleSize val="0"/>
            </c:dLbl>
            <c:dLbl>
              <c:idx val="42"/>
              <c:tx>
                <c:rich>
                  <a:bodyPr/>
                  <a:lstStyle/>
                  <a:p>
                    <a:r>
                      <a:t>254.33</a:t>
                    </a:r>
                  </a:p>
                </c:rich>
              </c:tx>
              <c:showLegendKey val="0"/>
              <c:showVal val="1"/>
              <c:showCatName val="0"/>
              <c:showSerName val="0"/>
              <c:showPercent val="0"/>
              <c:showBubbleSize val="0"/>
            </c:dLbl>
            <c:dLbl>
              <c:idx val="43"/>
              <c:tx>
                <c:rich>
                  <a:bodyPr/>
                  <a:lstStyle/>
                  <a:p>
                    <a:r>
                      <a:t>319.0</a:t>
                    </a:r>
                  </a:p>
                </c:rich>
              </c:tx>
              <c:showLegendKey val="0"/>
              <c:showVal val="1"/>
              <c:showCatName val="0"/>
              <c:showSerName val="0"/>
              <c:showPercent val="0"/>
              <c:showBubbleSize val="0"/>
            </c:dLbl>
            <c:dLbl>
              <c:idx val="44"/>
              <c:tx>
                <c:rich>
                  <a:bodyPr/>
                  <a:lstStyle/>
                  <a:p>
                    <a:r>
                      <a:t>220.0</a:t>
                    </a:r>
                  </a:p>
                </c:rich>
              </c:tx>
              <c:showLegendKey val="0"/>
              <c:showVal val="1"/>
              <c:showCatName val="0"/>
              <c:showSerName val="0"/>
              <c:showPercent val="0"/>
              <c:showBubbleSize val="0"/>
            </c:dLbl>
            <c:dLbl>
              <c:idx val="45"/>
              <c:tx>
                <c:rich>
                  <a:bodyPr/>
                  <a:lstStyle/>
                  <a:p>
                    <a:r>
                      <a:t>286.0</a:t>
                    </a:r>
                  </a:p>
                </c:rich>
              </c:tx>
              <c:showLegendKey val="0"/>
              <c:showVal val="1"/>
              <c:showCatName val="0"/>
              <c:showSerName val="0"/>
              <c:showPercent val="0"/>
              <c:showBubbleSize val="0"/>
            </c:dLbl>
            <c:dLbl>
              <c:idx val="46"/>
              <c:tx>
                <c:rich>
                  <a:bodyPr/>
                  <a:lstStyle/>
                  <a:p>
                    <a:r>
                      <a:t>311.0</a:t>
                    </a:r>
                  </a:p>
                </c:rich>
              </c:tx>
              <c:showLegendKey val="0"/>
              <c:showVal val="1"/>
              <c:showCatName val="0"/>
              <c:showSerName val="0"/>
              <c:showPercent val="0"/>
              <c:showBubbleSize val="0"/>
            </c:dLbl>
            <c:dLbl>
              <c:idx val="47"/>
              <c:tx>
                <c:rich>
                  <a:bodyPr/>
                  <a:lstStyle/>
                  <a:p>
                    <a:r>
                      <a:t>423.9</a:t>
                    </a:r>
                  </a:p>
                </c:rich>
              </c:tx>
              <c:showLegendKey val="0"/>
              <c:showVal val="1"/>
              <c:showCatName val="0"/>
              <c:showSerName val="0"/>
              <c:showPercent val="0"/>
              <c:showBubbleSize val="0"/>
            </c:dLbl>
            <c:dLbl>
              <c:idx val="48"/>
              <c:tx>
                <c:rich>
                  <a:bodyPr/>
                  <a:lstStyle/>
                  <a:p>
                    <a:r>
                      <a:t>278.0</a:t>
                    </a:r>
                  </a:p>
                </c:rich>
              </c:tx>
              <c:showLegendKey val="0"/>
              <c:showVal val="1"/>
              <c:showCatName val="0"/>
              <c:showSerName val="0"/>
              <c:showPercent val="0"/>
              <c:showBubbleSize val="0"/>
            </c:dLbl>
            <c:dLbl>
              <c:idx val="49"/>
              <c:tx>
                <c:rich>
                  <a:bodyPr/>
                  <a:lstStyle/>
                  <a:p>
                    <a:r>
                      <a:t>393.9</a:t>
                    </a:r>
                  </a:p>
                </c:rich>
              </c:tx>
              <c:showLegendKey val="0"/>
              <c:showVal val="1"/>
              <c:showCatName val="0"/>
              <c:showSerName val="0"/>
              <c:showPercent val="0"/>
              <c:showBubbleSize val="0"/>
            </c:dLbl>
            <c:dLbl>
              <c:idx val="50"/>
              <c:tx>
                <c:rich>
                  <a:bodyPr/>
                  <a:lstStyle/>
                  <a:p>
                    <a:r>
                      <a:t>188.0</a:t>
                    </a:r>
                  </a:p>
                </c:rich>
              </c:tx>
              <c:showLegendKey val="0"/>
              <c:showVal val="1"/>
              <c:showCatName val="0"/>
              <c:showSerName val="0"/>
              <c:showPercent val="0"/>
              <c:showBubbleSize val="0"/>
            </c:dLbl>
            <c:dLbl>
              <c:idx val="51"/>
              <c:tx>
                <c:rich>
                  <a:bodyPr/>
                  <a:lstStyle/>
                  <a:p>
                    <a:r>
                      <a:t>326.0</a:t>
                    </a:r>
                  </a:p>
                </c:rich>
              </c:tx>
              <c:showLegendKey val="0"/>
              <c:showVal val="1"/>
              <c:showCatName val="0"/>
              <c:showSerName val="0"/>
              <c:showPercent val="0"/>
              <c:showBubbleSize val="0"/>
            </c:dLbl>
            <c:dLbl>
              <c:idx val="52"/>
              <c:tx>
                <c:rich>
                  <a:bodyPr/>
                  <a:lstStyle/>
                  <a:p>
                    <a:r>
                      <a:t>349.0</a:t>
                    </a:r>
                  </a:p>
                </c:rich>
              </c:tx>
              <c:showLegendKey val="0"/>
              <c:showVal val="1"/>
              <c:showCatName val="0"/>
              <c:showSerName val="0"/>
              <c:showPercent val="0"/>
              <c:showBubbleSize val="0"/>
            </c:dLbl>
            <c:dLbl>
              <c:idx val="53"/>
              <c:tx>
                <c:rich>
                  <a:bodyPr/>
                  <a:lstStyle/>
                  <a:p>
                    <a:r>
                      <a:t>310.0</a:t>
                    </a:r>
                  </a:p>
                </c:rich>
              </c:tx>
              <c:showLegendKey val="0"/>
              <c:showVal val="1"/>
              <c:showCatName val="0"/>
              <c:showSerName val="0"/>
              <c:showPercent val="0"/>
              <c:showBubbleSize val="0"/>
            </c:dLbl>
            <c:dLbl>
              <c:idx val="54"/>
              <c:tx>
                <c:rich>
                  <a:bodyPr/>
                  <a:lstStyle/>
                  <a:p>
                    <a:r>
                      <a:t>365.0</a:t>
                    </a:r>
                  </a:p>
                </c:rich>
              </c:tx>
              <c:showLegendKey val="0"/>
              <c:showVal val="1"/>
              <c:showCatName val="0"/>
              <c:showSerName val="0"/>
              <c:showPercent val="0"/>
              <c:showBubbleSize val="0"/>
            </c:dLbl>
            <c:dLbl>
              <c:idx val="55"/>
              <c:tx>
                <c:rich>
                  <a:bodyPr/>
                  <a:lstStyle/>
                  <a:p>
                    <a:r>
                      <a:t>278.0</a:t>
                    </a:r>
                  </a:p>
                </c:rich>
              </c:tx>
              <c:showLegendKey val="0"/>
              <c:showVal val="1"/>
              <c:showCatName val="0"/>
              <c:showSerName val="0"/>
              <c:showPercent val="0"/>
              <c:showBubbleSize val="0"/>
            </c:dLbl>
            <c:dLbl>
              <c:idx val="56"/>
              <c:tx>
                <c:rich>
                  <a:bodyPr/>
                  <a:lstStyle/>
                  <a:p>
                    <a:r>
                      <a:t>659.0</a:t>
                    </a:r>
                  </a:p>
                </c:rich>
              </c:tx>
              <c:showLegendKey val="0"/>
              <c:showVal val="1"/>
              <c:showCatName val="0"/>
              <c:showSerName val="0"/>
              <c:showPercent val="0"/>
              <c:showBubbleSize val="0"/>
            </c:dLbl>
            <c:dLbl>
              <c:idx val="57"/>
              <c:tx>
                <c:rich>
                  <a:bodyPr/>
                  <a:lstStyle/>
                  <a:p>
                    <a:r>
                      <a:t>719.0</a:t>
                    </a:r>
                  </a:p>
                </c:rich>
              </c:tx>
              <c:showLegendKey val="0"/>
              <c:showVal val="1"/>
              <c:showCatName val="0"/>
              <c:showSerName val="0"/>
              <c:showPercent val="0"/>
              <c:showBubbleSize val="0"/>
            </c:dLbl>
            <c:dLbl>
              <c:idx val="58"/>
              <c:tx>
                <c:rich>
                  <a:bodyPr/>
                  <a:lstStyle/>
                  <a:p>
                    <a:r>
                      <a:t>683.48</a:t>
                    </a:r>
                  </a:p>
                </c:rich>
              </c:tx>
              <c:showLegendKey val="0"/>
              <c:showVal val="1"/>
              <c:showCatName val="0"/>
              <c:showSerName val="0"/>
              <c:showPercent val="0"/>
              <c:showBubbleSize val="0"/>
            </c:dLbl>
            <c:dLbl>
              <c:idx val="59"/>
              <c:tx>
                <c:rich>
                  <a:bodyPr/>
                  <a:lstStyle/>
                  <a:p>
                    <a:r>
                      <a:t>616.0</a:t>
                    </a:r>
                  </a:p>
                </c:rich>
              </c:tx>
              <c:showLegendKey val="0"/>
              <c:showVal val="1"/>
              <c:showCatName val="0"/>
              <c:showSerName val="0"/>
              <c:showPercent val="0"/>
              <c:showBubbleSize val="0"/>
            </c:dLbl>
            <c:dLbl>
              <c:idx val="60"/>
              <c:tx>
                <c:rich>
                  <a:bodyPr/>
                  <a:lstStyle/>
                  <a:p>
                    <a:r>
                      <a:t>590.0</a:t>
                    </a:r>
                  </a:p>
                </c:rich>
              </c:tx>
              <c:showLegendKey val="0"/>
              <c:showVal val="1"/>
              <c:showCatName val="0"/>
              <c:showSerName val="0"/>
              <c:showPercent val="0"/>
              <c:showBubbleSize val="0"/>
            </c:dLbl>
            <c:dLbl>
              <c:idx val="61"/>
              <c:tx>
                <c:rich>
                  <a:bodyPr/>
                  <a:lstStyle/>
                  <a:p>
                    <a:r>
                      <a:t>637.5</a:t>
                    </a:r>
                  </a:p>
                </c:rich>
              </c:tx>
              <c:showLegendKey val="0"/>
              <c:showVal val="1"/>
              <c:showCatName val="0"/>
              <c:showSerName val="0"/>
              <c:showPercent val="0"/>
              <c:showBubbleSize val="0"/>
            </c:dLbl>
            <c:dLbl>
              <c:idx val="62"/>
              <c:tx>
                <c:rich>
                  <a:bodyPr/>
                  <a:lstStyle/>
                  <a:p>
                    <a:r>
                      <a:t>719.0</a:t>
                    </a:r>
                  </a:p>
                </c:rich>
              </c:tx>
              <c:showLegendKey val="0"/>
              <c:showVal val="1"/>
              <c:showCatName val="0"/>
              <c:showSerName val="0"/>
              <c:showPercent val="0"/>
              <c:showBubbleSize val="0"/>
            </c:dLbl>
            <c:dLbl>
              <c:idx val="63"/>
              <c:tx>
                <c:rich>
                  <a:bodyPr/>
                  <a:lstStyle/>
                  <a:p>
                    <a:r>
                      <a:t>669.0</a:t>
                    </a:r>
                  </a:p>
                </c:rich>
              </c:tx>
              <c:showLegendKey val="0"/>
              <c:showVal val="1"/>
              <c:showCatName val="0"/>
              <c:showSerName val="0"/>
              <c:showPercent val="0"/>
              <c:showBubbleSize val="0"/>
            </c:dLbl>
            <c:dLbl>
              <c:idx val="64"/>
              <c:tx>
                <c:rich>
                  <a:bodyPr/>
                  <a:lstStyle/>
                  <a:p>
                    <a:r>
                      <a:t>709.0</a:t>
                    </a:r>
                  </a:p>
                </c:rich>
              </c:tx>
              <c:showLegendKey val="0"/>
              <c:showVal val="1"/>
              <c:showCatName val="0"/>
              <c:showSerName val="0"/>
              <c:showPercent val="0"/>
              <c:showBubbleSize val="0"/>
            </c:dLbl>
            <c:dLbl>
              <c:idx val="65"/>
              <c:tx>
                <c:rich>
                  <a:bodyPr/>
                  <a:lstStyle/>
                  <a:p>
                    <a:r>
                      <a:t>600.0</a:t>
                    </a:r>
                  </a:p>
                </c:rich>
              </c:tx>
              <c:showLegendKey val="0"/>
              <c:showVal val="1"/>
              <c:showCatName val="0"/>
              <c:showSerName val="0"/>
              <c:showPercent val="0"/>
              <c:showBubbleSize val="0"/>
            </c:dLbl>
            <c:dLbl>
              <c:idx val="66"/>
              <c:tx>
                <c:rich>
                  <a:bodyPr/>
                  <a:lstStyle/>
                  <a:p>
                    <a:r>
                      <a:t>594.89</a:t>
                    </a:r>
                  </a:p>
                </c:rich>
              </c:tx>
              <c:showLegendKey val="0"/>
              <c:showVal val="1"/>
              <c:showCatName val="0"/>
              <c:showSerName val="0"/>
              <c:showPercent val="0"/>
              <c:showBubbleSize val="0"/>
            </c:dLbl>
            <c:dLbl>
              <c:idx val="67"/>
              <c:tx>
                <c:rich>
                  <a:bodyPr/>
                  <a:lstStyle/>
                  <a:p>
                    <a:r>
                      <a:t>650.0</a:t>
                    </a:r>
                  </a:p>
                </c:rich>
              </c:tx>
              <c:showLegendKey val="0"/>
              <c:showVal val="1"/>
              <c:showCatName val="0"/>
              <c:showSerName val="0"/>
              <c:showPercent val="0"/>
              <c:showBubbleSize val="0"/>
            </c:dLbl>
            <c:dLbl>
              <c:idx val="68"/>
              <c:tx>
                <c:rich>
                  <a:bodyPr/>
                  <a:lstStyle/>
                  <a:p>
                    <a:r>
                      <a:t>170.0</a:t>
                    </a:r>
                  </a:p>
                </c:rich>
              </c:tx>
              <c:showLegendKey val="0"/>
              <c:showVal val="1"/>
              <c:showCatName val="0"/>
              <c:showSerName val="0"/>
              <c:showPercent val="0"/>
              <c:showBubbleSize val="0"/>
            </c:dLbl>
            <c:dLbl>
              <c:idx val="69"/>
              <c:tx>
                <c:rich>
                  <a:bodyPr/>
                  <a:lstStyle/>
                  <a:p>
                    <a:r>
                      <a:t>220.0</a:t>
                    </a:r>
                  </a:p>
                </c:rich>
              </c:tx>
              <c:showLegendKey val="0"/>
              <c:showVal val="1"/>
              <c:showCatName val="0"/>
              <c:showSerName val="0"/>
              <c:showPercent val="0"/>
              <c:showBubbleSize val="0"/>
            </c:dLbl>
            <c:dLbl>
              <c:idx val="70"/>
              <c:tx>
                <c:rich>
                  <a:bodyPr/>
                  <a:lstStyle/>
                  <a:p>
                    <a:r>
                      <a:t>829.0</a:t>
                    </a:r>
                  </a:p>
                </c:rich>
              </c:tx>
              <c:showLegendKey val="0"/>
              <c:showVal val="1"/>
              <c:showCatName val="0"/>
              <c:showSerName val="0"/>
              <c:showPercent val="0"/>
              <c:showBubbleSize val="0"/>
            </c:dLbl>
            <c:dLbl>
              <c:idx val="71"/>
              <c:tx>
                <c:rich>
                  <a:bodyPr/>
                  <a:lstStyle/>
                  <a:p>
                    <a:r>
                      <a:t>752.33</a:t>
                    </a:r>
                  </a:p>
                </c:rich>
              </c:tx>
              <c:showLegendKey val="0"/>
              <c:showVal val="1"/>
              <c:showCatName val="0"/>
              <c:showSerName val="0"/>
              <c:showPercent val="0"/>
              <c:showBubbleSize val="0"/>
            </c:dLbl>
            <c:dLbl>
              <c:idx val="72"/>
              <c:tx>
                <c:rich>
                  <a:bodyPr/>
                  <a:lstStyle/>
                  <a:p>
                    <a:r>
                      <a:t>586.37</a:t>
                    </a:r>
                  </a:p>
                </c:rich>
              </c:tx>
              <c:showLegendKey val="0"/>
              <c:showVal val="1"/>
              <c:showCatName val="0"/>
              <c:showSerName val="0"/>
              <c:showPercent val="0"/>
              <c:showBubbleSize val="0"/>
            </c:dLbl>
            <c:dLbl>
              <c:idx val="73"/>
              <c:tx>
                <c:rich>
                  <a:bodyPr/>
                  <a:lstStyle/>
                  <a:p>
                    <a:r>
                      <a:t>549.0</a:t>
                    </a:r>
                  </a:p>
                </c:rich>
              </c:tx>
              <c:showLegendKey val="0"/>
              <c:showVal val="1"/>
              <c:showCatName val="0"/>
              <c:showSerName val="0"/>
              <c:showPercent val="0"/>
              <c:showBubbleSize val="0"/>
            </c:dLbl>
            <c:dLbl>
              <c:idx val="74"/>
              <c:tx>
                <c:rich>
                  <a:bodyPr/>
                  <a:lstStyle/>
                  <a:p>
                    <a:r>
                      <a:t>689.0</a:t>
                    </a:r>
                  </a:p>
                </c:rich>
              </c:tx>
              <c:showLegendKey val="0"/>
              <c:showVal val="1"/>
              <c:showCatName val="0"/>
              <c:showSerName val="0"/>
              <c:showPercent val="0"/>
              <c:showBubbleSize val="0"/>
            </c:dLbl>
            <c:dLbl>
              <c:idx val="75"/>
              <c:tx>
                <c:rich>
                  <a:bodyPr/>
                  <a:lstStyle/>
                  <a:p>
                    <a:r>
                      <a:t>672.3</a:t>
                    </a:r>
                  </a:p>
                </c:rich>
              </c:tx>
              <c:showLegendKey val="0"/>
              <c:showVal val="1"/>
              <c:showCatName val="0"/>
              <c:showSerName val="0"/>
              <c:showPercent val="0"/>
              <c:showBubbleSize val="0"/>
            </c:dLbl>
            <c:dLbl>
              <c:idx val="76"/>
              <c:tx>
                <c:rich>
                  <a:bodyPr/>
                  <a:lstStyle/>
                  <a:p>
                    <a:r>
                      <a:t>220.0</a:t>
                    </a:r>
                  </a:p>
                </c:rich>
              </c:tx>
              <c:showLegendKey val="0"/>
              <c:showVal val="1"/>
              <c:showCatName val="0"/>
              <c:showSerName val="0"/>
              <c:showPercent val="0"/>
              <c:showBubbleSize val="0"/>
            </c:dLbl>
            <c:dLbl>
              <c:idx val="77"/>
              <c:tx>
                <c:rich>
                  <a:bodyPr/>
                  <a:lstStyle/>
                  <a:p>
                    <a:r>
                      <a:t>889.0</a:t>
                    </a:r>
                  </a:p>
                </c:rich>
              </c:tx>
              <c:showLegendKey val="0"/>
              <c:showVal val="1"/>
              <c:showCatName val="0"/>
              <c:showSerName val="0"/>
              <c:showPercent val="0"/>
              <c:showBubbleSize val="0"/>
            </c:dLbl>
            <c:dLbl>
              <c:idx val="78"/>
              <c:tx>
                <c:rich>
                  <a:bodyPr/>
                  <a:lstStyle/>
                  <a:p>
                    <a:r>
                      <a:t>752.33</a:t>
                    </a:r>
                  </a:p>
                </c:rich>
              </c:tx>
              <c:showLegendKey val="0"/>
              <c:showVal val="1"/>
              <c:showCatName val="0"/>
              <c:showSerName val="0"/>
              <c:showPercent val="0"/>
              <c:showBubbleSize val="0"/>
            </c:dLbl>
            <c:dLbl>
              <c:idx val="79"/>
              <c:tx>
                <c:rich>
                  <a:bodyPr/>
                  <a:lstStyle/>
                  <a:p>
                    <a:r>
                      <a:t>739.0</a:t>
                    </a:r>
                  </a:p>
                </c:rich>
              </c:tx>
              <c:showLegendKey val="0"/>
              <c:showVal val="1"/>
              <c:showCatName val="0"/>
              <c:showSerName val="0"/>
              <c:showPercent val="0"/>
              <c:showBubbleSize val="0"/>
            </c:dLbl>
            <c:dLbl>
              <c:idx val="80"/>
              <c:tx>
                <c:rich>
                  <a:bodyPr/>
                  <a:lstStyle/>
                  <a:p>
                    <a:r>
                      <a:t>689.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2</c:f>
              <c:strCache>
                <c:ptCount val="81"/>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Cosmetics Spray Crema 50+ 220Ml</c:v>
                </c:pt>
                <c:pt idx="8">
                  <c:v>Edgewell Banana Boat Dry Balance Sunscreen Adults Sport Crema 50+ 180Ml</c:v>
                </c:pt>
                <c:pt idx="9">
                  <c:v>Edgewell Banana Boat Dry Balance Sunscreen Adults Sport Spray Liquido 50 220Ml</c:v>
                </c:pt>
                <c:pt idx="10">
                  <c:v>Edgewell Banana Boat Kids Sport Sunscreen Kids Cosmetics Crema 50 180Ml</c:v>
                </c:pt>
                <c:pt idx="11">
                  <c:v>Edgewell Banana Boat Mineral Sunscreen Adults Cosmetics Locion 50 60Ml</c:v>
                </c:pt>
                <c:pt idx="12">
                  <c:v>Edgewell Banana Boat Mineral Sunscreen Adults Sport Locion 50 180Ml</c:v>
                </c:pt>
                <c:pt idx="13">
                  <c:v>Edgewell Banana Boat Mineral Sunscreen Kids Cosmetics Locion 50 180Ml</c:v>
                </c:pt>
                <c:pt idx="14">
                  <c:v>Edgewell Banana Boat Tanning Tanning Adults Cosmetics Spray Aceite 0 - 5 237Ml</c:v>
                </c:pt>
                <c:pt idx="15">
                  <c:v>Edgewell Banana Boat Ultra Sunscreen Adults Sport Roll-On 60+ 75Ml</c:v>
                </c:pt>
                <c:pt idx="16">
                  <c:v>Edgewell Beauty Care Antioxidant Sunscreen Adults Cosmetics Liquido 15 - 19 100Ml</c:v>
                </c:pt>
                <c:pt idx="17">
                  <c:v>Edgewell Beauty Care Antioxidant Sunscreen Adults Cosmetics Liquido 50+ 50Ml</c:v>
                </c:pt>
                <c:pt idx="18">
                  <c:v>Edgewell Beauty Care Matte Sunscreen Adults Cosmetics Liquido 30 50Ml</c:v>
                </c:pt>
                <c:pt idx="19">
                  <c:v>Edgewell Beauty Care Sensitive Sunscreen Adults Cosmetics Liquido 50+ 50Ml</c:v>
                </c:pt>
                <c:pt idx="20">
                  <c:v>Edgewell Hawaiian Tropic After Sun After Sun Adults Cosmetics Gel 0 - 5 240Ml</c:v>
                </c:pt>
                <c:pt idx="21">
                  <c:v>Edgewell Hawaiian Tropic Carrot Tanning Adults Cosmetics Crema 10 - 14 240Ml</c:v>
                </c:pt>
                <c:pt idx="22">
                  <c:v>Edgewell Hawaiian Tropic Island Sport Sunscreen Adults Sport Liquido 50 60Ml</c:v>
                </c:pt>
                <c:pt idx="23">
                  <c:v>Edgewell Hawaiian Tropic Other Sunscreen Adults Cosmetics Crema 50+ 240Ml</c:v>
                </c:pt>
                <c:pt idx="24">
                  <c:v>Edgewell Hawaiian Tropic Ozono Sunscreen Adults Cosmetics Liquido 50+ 120Ml</c:v>
                </c:pt>
                <c:pt idx="25">
                  <c:v>Edgewell Hawaiian Tropic Ozono Sunscreen Adults Cosmetics Liquido 50+ 180Ml</c:v>
                </c:pt>
                <c:pt idx="26">
                  <c:v>Edgewell Hawaiian Tropic Ozono Sunscreen Adults Cosmetics Liquido 50+ 240Ml</c:v>
                </c:pt>
                <c:pt idx="27">
                  <c:v>Edgewell Hawaiian Tropic Ozono Sunscreen Adults Cosmetics Liquido 50+ 90Ml</c:v>
                </c:pt>
                <c:pt idx="28">
                  <c:v>Edgewell Hawaiian Tropic Ozono Sunscreen Adults Cosmetics Spray Liquido 50+ 180Ml</c:v>
                </c:pt>
                <c:pt idx="29">
                  <c:v>Edgewell Hawaiian Tropic Sheer Touch Sunscreen Adults Cosmetics Crema 30 - 49 240Ml</c:v>
                </c:pt>
                <c:pt idx="30">
                  <c:v>Edgewell Hawaiian Tropic Sheer Touch Sunscreen Adults Cosmetics Crema 50 120Ml</c:v>
                </c:pt>
                <c:pt idx="31">
                  <c:v>Edgewell Hawaiian Tropic Sheer Touch Sunscreen Adults Cosmetics Liquido 30 - 49 60Ml</c:v>
                </c:pt>
                <c:pt idx="32">
                  <c:v>Edgewell Hawaiian Tropic Tanning Sunscreen Adults Cosmetics Spray Liquido 15 - 19 220Ml</c:v>
                </c:pt>
                <c:pt idx="33">
                  <c:v>Beiersdorf Eucerin Sunscreen Adults Derma Crema 50+ 200Ml</c:v>
                </c:pt>
                <c:pt idx="34">
                  <c:v>Beiersdorf Eucerin Sunscreen Adults Derma Crema 50+ 50Ml</c:v>
                </c:pt>
                <c:pt idx="35">
                  <c:v>Beiersdorf Eucerin Sunscreen Adults Derma Fluido 50+ 50Ml</c:v>
                </c:pt>
                <c:pt idx="36">
                  <c:v>Beiersdorf Eucerin Sunscreen Adults Derma Gel 50+ 50Ml</c:v>
                </c:pt>
                <c:pt idx="37">
                  <c:v>Beiersdorf Eucerin Sunscreen Adults Derma Liquido 50 150Ml</c:v>
                </c:pt>
                <c:pt idx="38">
                  <c:v>Beiersdorf Eucerin Sunscreen Adults Derma Spray Crema 50 50Ml</c:v>
                </c:pt>
                <c:pt idx="39">
                  <c:v>Beiersdorf Eucerin Sunscreen Adults Derma Spray Liquido 50 200Ml</c:v>
                </c:pt>
                <c:pt idx="40">
                  <c:v>Beiersdorf Eucerin Sunscreen Adults Sunscreen Derma Spray Crema 50/50+ 200Ml</c:v>
                </c:pt>
                <c:pt idx="41">
                  <c:v>Beiersdorf Nivea After Sun Adults Cosmetics Crema 0 - 5 200Ml</c:v>
                </c:pt>
                <c:pt idx="42">
                  <c:v>Beiersdorf Nivea Sunscreen Adults Cosmetics Crema 50 50Ml</c:v>
                </c:pt>
                <c:pt idx="43">
                  <c:v>Beiersdorf Nivea Sunscreen Adults Cosmetics Crema 50+ 200Ml</c:v>
                </c:pt>
                <c:pt idx="44">
                  <c:v>Beiersdorf Nivea Sunscreen Adults Cosmetics Crema 50+ 40Ml</c:v>
                </c:pt>
                <c:pt idx="45">
                  <c:v>Beiersdorf Nivea Sunscreen Adults Cosmetics Crema 50+ 50Ml</c:v>
                </c:pt>
                <c:pt idx="46">
                  <c:v>Beiersdorf Nivea Sunscreen Adults Cosmetics Fluido 50+ 40Ml</c:v>
                </c:pt>
                <c:pt idx="47">
                  <c:v>Beiersdorf Nivea Sunscreen Adults Cosmetics Gel 50+ 200Ml</c:v>
                </c:pt>
                <c:pt idx="48">
                  <c:v>Beiersdorf Nivea Sunscreen Adults Cosmetics Liquido 30 - 49 200Ml</c:v>
                </c:pt>
                <c:pt idx="49">
                  <c:v>Beiersdorf Nivea Sunscreen Adults Cosmetics Liquido 50 200Ml</c:v>
                </c:pt>
                <c:pt idx="50">
                  <c:v>Beiersdorf Nivea Sunscreen Adults Cosmetics Liquido 50+ 125Ml</c:v>
                </c:pt>
                <c:pt idx="51">
                  <c:v>Beiersdorf Nivea Sunscreen Adults Cosmetics Spray Liquido 50 200Ml</c:v>
                </c:pt>
                <c:pt idx="52">
                  <c:v>Beiersdorf Nivea Sunscreen Kids Cosmetics Gel 50+ 150Ml</c:v>
                </c:pt>
                <c:pt idx="53">
                  <c:v>Beiersdorf Nivea Sunscreen Kids Cosmetics Liquido 50+ 200Ml</c:v>
                </c:pt>
                <c:pt idx="54">
                  <c:v>Beiersdorf Nivea Sunscreen Kids Cosmetics Spray Liquido 50+ 200Ml</c:v>
                </c:pt>
                <c:pt idx="55">
                  <c:v>Beiersdorf Nivea Tanning Adults Cosmetics Aceite 6 - 9 200Ml</c:v>
                </c:pt>
                <c:pt idx="56">
                  <c:v>Isdin Isdin Sunscreen Adults Derma Aceite 30 200Ml</c:v>
                </c:pt>
                <c:pt idx="57">
                  <c:v>Isdin Isdin Sunscreen Adults Derma Crema 30 50Ml</c:v>
                </c:pt>
                <c:pt idx="58">
                  <c:v>Isdin Isdin Sunscreen Adults Derma Crema 50 50Ml</c:v>
                </c:pt>
                <c:pt idx="59">
                  <c:v>Isdin Isdin Sunscreen Adults Derma Crema 50+ 50Ml</c:v>
                </c:pt>
                <c:pt idx="60">
                  <c:v>Isdin Isdin Sunscreen Adults Derma Fluido 50+ 50Ml</c:v>
                </c:pt>
                <c:pt idx="61">
                  <c:v>Isdin Isdin Sunscreen Adults Derma Gel 50+ 250Ml</c:v>
                </c:pt>
                <c:pt idx="62">
                  <c:v>Isdin Isdin Sunscreen Adults Derma Liquido 30 - 49 50Ml</c:v>
                </c:pt>
                <c:pt idx="63">
                  <c:v>Isdin Isdin Sunscreen Adults Derma Locion 50+ 200Ml</c:v>
                </c:pt>
                <c:pt idx="64">
                  <c:v>Isdin Isdin Sunscreen Adults Derma Spray Aceite 50 200Ml</c:v>
                </c:pt>
                <c:pt idx="65">
                  <c:v>Isdin Isdin Sunscreen Adults Derma Spray Liquido 50 100Ml</c:v>
                </c:pt>
                <c:pt idx="66">
                  <c:v>Isdin Isdin Sunscreen Adults Derma Stick 50 10Ml</c:v>
                </c:pt>
                <c:pt idx="67">
                  <c:v>Isdin Isdin Sunscreen Baby Derma Fluido 50 50Ml</c:v>
                </c:pt>
                <c:pt idx="68">
                  <c:v>L'Oreal Garnier Sunscreen Adults Cosmetics Crema 50+ 40Ml</c:v>
                </c:pt>
                <c:pt idx="69">
                  <c:v>L'Oreal Garnier Sunscreen Adults Cosmetics Serum 50+ 40Ml</c:v>
                </c:pt>
                <c:pt idx="70">
                  <c:v>L'Oreal La Roche-Posay Sunscreen Adults Derma Crema 50+ 250Ml</c:v>
                </c:pt>
                <c:pt idx="71">
                  <c:v>L'Oreal La Roche-Posay Sunscreen Adults Derma Crema 50+ 50Ml</c:v>
                </c:pt>
                <c:pt idx="72">
                  <c:v>L'Oreal La Roche-Posay Sunscreen Adults Derma Fluido 50+ 50Ml</c:v>
                </c:pt>
                <c:pt idx="73">
                  <c:v>L'Oreal La Roche-Posay Sunscreen Adults Derma Gel 50+ 50Ml</c:v>
                </c:pt>
                <c:pt idx="74">
                  <c:v>L'Oreal La Roche-Posay Sunscreen Adults Derma Liquido 50+ 50Ml</c:v>
                </c:pt>
                <c:pt idx="75">
                  <c:v>L'Oreal La Roche-Posay Sunscreen Adults Derma Spray Aceite 50 75Ml</c:v>
                </c:pt>
                <c:pt idx="76">
                  <c:v>L'Oreal Loreal Paris Sunscreen Adults Derma Liquido 50+ 40Ml</c:v>
                </c:pt>
                <c:pt idx="77">
                  <c:v>L'Oreal Vichy Sunscreen Adults Derma Crema 50 300Ml</c:v>
                </c:pt>
                <c:pt idx="78">
                  <c:v>L'Oreal Vichy Sunscreen Adults Derma Crema 50 50Ml</c:v>
                </c:pt>
                <c:pt idx="79">
                  <c:v>L'Oreal Vichy Sunscreen Adults Derma Crema 50+ 200Ml</c:v>
                </c:pt>
                <c:pt idx="80">
                  <c:v>L'Oreal Vichy Sunscreen Adults Derma Crema 50+ 40Ml</c:v>
                </c:pt>
              </c:strCache>
            </c:strRef>
          </c:cat>
          <c:val>
            <c:numRef>
              <c:f>Sheet1!$B$2:$B$82</c:f>
              <c:numCache>
                <c:formatCode>General</c:formatCode>
                <c:ptCount val="81"/>
                <c:pt idx="0">
                  <c:v>310.0</c:v>
                </c:pt>
                <c:pt idx="1">
                  <c:v>105.0</c:v>
                </c:pt>
                <c:pt idx="2">
                  <c:v>305.0</c:v>
                </c:pt>
                <c:pt idx="3">
                  <c:v>349.0</c:v>
                </c:pt>
                <c:pt idx="4">
                  <c:v>305.0</c:v>
                </c:pt>
                <c:pt idx="5">
                  <c:v>367.5</c:v>
                </c:pt>
                <c:pt idx="6">
                  <c:v>305.0</c:v>
                </c:pt>
                <c:pt idx="7">
                  <c:v>249.0</c:v>
                </c:pt>
                <c:pt idx="8">
                  <c:v>335.0</c:v>
                </c:pt>
                <c:pt idx="9">
                  <c:v>385.0</c:v>
                </c:pt>
                <c:pt idx="10">
                  <c:v>305.0</c:v>
                </c:pt>
                <c:pt idx="11">
                  <c:v>310.0</c:v>
                </c:pt>
                <c:pt idx="12">
                  <c:v>249.0</c:v>
                </c:pt>
                <c:pt idx="13">
                  <c:v>242.0</c:v>
                </c:pt>
                <c:pt idx="14">
                  <c:v>279.0</c:v>
                </c:pt>
                <c:pt idx="15">
                  <c:v>215.0</c:v>
                </c:pt>
                <c:pt idx="16">
                  <c:v>240.0</c:v>
                </c:pt>
                <c:pt idx="17">
                  <c:v>179.0</c:v>
                </c:pt>
                <c:pt idx="18">
                  <c:v>179.0</c:v>
                </c:pt>
                <c:pt idx="19">
                  <c:v>179.0</c:v>
                </c:pt>
                <c:pt idx="20">
                  <c:v>299.0</c:v>
                </c:pt>
                <c:pt idx="21">
                  <c:v>299.0</c:v>
                </c:pt>
                <c:pt idx="22">
                  <c:v>105.0</c:v>
                </c:pt>
                <c:pt idx="23">
                  <c:v>350.0</c:v>
                </c:pt>
                <c:pt idx="24">
                  <c:v>205.0</c:v>
                </c:pt>
                <c:pt idx="25">
                  <c:v>350.0</c:v>
                </c:pt>
                <c:pt idx="26">
                  <c:v>350.0</c:v>
                </c:pt>
                <c:pt idx="27">
                  <c:v>125.0</c:v>
                </c:pt>
                <c:pt idx="28">
                  <c:v>385.0</c:v>
                </c:pt>
                <c:pt idx="29">
                  <c:v>299.0</c:v>
                </c:pt>
                <c:pt idx="30">
                  <c:v>205.0</c:v>
                </c:pt>
                <c:pt idx="31">
                  <c:v>105.0</c:v>
                </c:pt>
                <c:pt idx="32">
                  <c:v>315.0</c:v>
                </c:pt>
                <c:pt idx="33">
                  <c:v>819.0</c:v>
                </c:pt>
                <c:pt idx="34">
                  <c:v>651.98</c:v>
                </c:pt>
                <c:pt idx="35">
                  <c:v>659.0</c:v>
                </c:pt>
                <c:pt idx="36">
                  <c:v>699.0</c:v>
                </c:pt>
                <c:pt idx="37">
                  <c:v>549.0</c:v>
                </c:pt>
                <c:pt idx="38">
                  <c:v>739.0</c:v>
                </c:pt>
                <c:pt idx="39">
                  <c:v>829.0</c:v>
                </c:pt>
                <c:pt idx="40">
                  <c:v>499.0</c:v>
                </c:pt>
                <c:pt idx="41">
                  <c:v>92.0</c:v>
                </c:pt>
                <c:pt idx="42">
                  <c:v>254.33</c:v>
                </c:pt>
                <c:pt idx="43">
                  <c:v>319.0</c:v>
                </c:pt>
                <c:pt idx="44">
                  <c:v>220.0</c:v>
                </c:pt>
                <c:pt idx="45">
                  <c:v>286.0</c:v>
                </c:pt>
                <c:pt idx="46">
                  <c:v>311.0</c:v>
                </c:pt>
                <c:pt idx="47">
                  <c:v>423.9</c:v>
                </c:pt>
                <c:pt idx="48">
                  <c:v>278.0</c:v>
                </c:pt>
                <c:pt idx="49">
                  <c:v>393.9</c:v>
                </c:pt>
                <c:pt idx="50">
                  <c:v>188.0</c:v>
                </c:pt>
                <c:pt idx="51">
                  <c:v>326.0</c:v>
                </c:pt>
                <c:pt idx="52">
                  <c:v>349.0</c:v>
                </c:pt>
                <c:pt idx="53">
                  <c:v>310.0</c:v>
                </c:pt>
                <c:pt idx="54">
                  <c:v>365.0</c:v>
                </c:pt>
                <c:pt idx="55">
                  <c:v>278.0</c:v>
                </c:pt>
                <c:pt idx="56">
                  <c:v>659.0</c:v>
                </c:pt>
                <c:pt idx="57">
                  <c:v>719.0</c:v>
                </c:pt>
                <c:pt idx="58">
                  <c:v>683.48</c:v>
                </c:pt>
                <c:pt idx="59">
                  <c:v>616.0</c:v>
                </c:pt>
                <c:pt idx="60">
                  <c:v>590.0</c:v>
                </c:pt>
                <c:pt idx="61">
                  <c:v>637.5</c:v>
                </c:pt>
                <c:pt idx="62">
                  <c:v>719.0</c:v>
                </c:pt>
                <c:pt idx="63">
                  <c:v>669.0</c:v>
                </c:pt>
                <c:pt idx="64">
                  <c:v>709.0</c:v>
                </c:pt>
                <c:pt idx="65">
                  <c:v>600.0</c:v>
                </c:pt>
                <c:pt idx="66">
                  <c:v>594.89</c:v>
                </c:pt>
                <c:pt idx="67">
                  <c:v>650.0</c:v>
                </c:pt>
                <c:pt idx="68">
                  <c:v>170.0</c:v>
                </c:pt>
                <c:pt idx="69">
                  <c:v>220.0</c:v>
                </c:pt>
                <c:pt idx="70">
                  <c:v>829.0</c:v>
                </c:pt>
                <c:pt idx="71">
                  <c:v>752.33</c:v>
                </c:pt>
                <c:pt idx="72">
                  <c:v>586.37</c:v>
                </c:pt>
                <c:pt idx="73">
                  <c:v>549.0</c:v>
                </c:pt>
                <c:pt idx="74">
                  <c:v>689.0</c:v>
                </c:pt>
                <c:pt idx="75">
                  <c:v>672.3</c:v>
                </c:pt>
                <c:pt idx="76">
                  <c:v>220.0</c:v>
                </c:pt>
                <c:pt idx="77">
                  <c:v>889.0</c:v>
                </c:pt>
                <c:pt idx="78">
                  <c:v>752.33</c:v>
                </c:pt>
                <c:pt idx="79">
                  <c:v>739.0</c:v>
                </c:pt>
                <c:pt idx="80">
                  <c:v>689.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8.42</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335.0</a:t>
                    </a:r>
                  </a:p>
                </c:rich>
              </c:tx>
              <c:showLegendKey val="0"/>
              <c:showVal val="1"/>
              <c:showCatName val="0"/>
              <c:showSerName val="0"/>
              <c:showPercent val="0"/>
              <c:showBubbleSize val="0"/>
            </c:dLbl>
            <c:dLbl>
              <c:idx val="9"/>
              <c:tx>
                <c:rich>
                  <a:bodyPr/>
                  <a:lstStyle/>
                  <a:p>
                    <a:r>
                      <a:t>385.0</a:t>
                    </a:r>
                  </a:p>
                </c:rich>
              </c:tx>
              <c:showLegendKey val="0"/>
              <c:showVal val="1"/>
              <c:showCatName val="0"/>
              <c:showSerName val="0"/>
              <c:showPercent val="0"/>
              <c:showBubbleSize val="0"/>
            </c:dLbl>
            <c:dLbl>
              <c:idx val="10"/>
              <c:tx>
                <c:rich>
                  <a:bodyPr/>
                  <a:lstStyle/>
                  <a:p>
                    <a:r>
                      <a:t>305.0</a:t>
                    </a:r>
                  </a:p>
                </c:rich>
              </c:tx>
              <c:showLegendKey val="0"/>
              <c:showVal val="1"/>
              <c:showCatName val="0"/>
              <c:showSerName val="0"/>
              <c:showPercent val="0"/>
              <c:showBubbleSize val="0"/>
            </c:dLbl>
            <c:dLbl>
              <c:idx val="11"/>
              <c:tx>
                <c:rich>
                  <a:bodyPr/>
                  <a:lstStyle/>
                  <a:p>
                    <a:r>
                      <a:t>310.0</a:t>
                    </a:r>
                  </a:p>
                </c:rich>
              </c:tx>
              <c:showLegendKey val="0"/>
              <c:showVal val="1"/>
              <c:showCatName val="0"/>
              <c:showSerName val="0"/>
              <c:showPercent val="0"/>
              <c:showBubbleSize val="0"/>
            </c:dLbl>
            <c:dLbl>
              <c:idx val="12"/>
              <c:tx>
                <c:rich>
                  <a:bodyPr/>
                  <a:lstStyle/>
                  <a:p>
                    <a:r>
                      <a:t>249.0</a:t>
                    </a:r>
                  </a:p>
                </c:rich>
              </c:tx>
              <c:showLegendKey val="0"/>
              <c:showVal val="1"/>
              <c:showCatName val="0"/>
              <c:showSerName val="0"/>
              <c:showPercent val="0"/>
              <c:showBubbleSize val="0"/>
            </c:dLbl>
            <c:dLbl>
              <c:idx val="13"/>
              <c:tx>
                <c:rich>
                  <a:bodyPr/>
                  <a:lstStyle/>
                  <a:p>
                    <a:r>
                      <a:t>242.0</a:t>
                    </a:r>
                  </a:p>
                </c:rich>
              </c:tx>
              <c:showLegendKey val="0"/>
              <c:showVal val="1"/>
              <c:showCatName val="0"/>
              <c:showSerName val="0"/>
              <c:showPercent val="0"/>
              <c:showBubbleSize val="0"/>
            </c:dLbl>
            <c:dLbl>
              <c:idx val="14"/>
              <c:tx>
                <c:rich>
                  <a:bodyPr/>
                  <a:lstStyle/>
                  <a:p>
                    <a:r>
                      <a:t>279.0</a:t>
                    </a:r>
                  </a:p>
                </c:rich>
              </c:tx>
              <c:showLegendKey val="0"/>
              <c:showVal val="1"/>
              <c:showCatName val="0"/>
              <c:showSerName val="0"/>
              <c:showPercent val="0"/>
              <c:showBubbleSize val="0"/>
            </c:dLbl>
            <c:dLbl>
              <c:idx val="15"/>
              <c:tx>
                <c:rich>
                  <a:bodyPr/>
                  <a:lstStyle/>
                  <a:p>
                    <a:r>
                      <a:t>215.0</a:t>
                    </a:r>
                  </a:p>
                </c:rich>
              </c:tx>
              <c:showLegendKey val="0"/>
              <c:showVal val="1"/>
              <c:showCatName val="0"/>
              <c:showSerName val="0"/>
              <c:showPercent val="0"/>
              <c:showBubbleSize val="0"/>
            </c:dLbl>
            <c:dLbl>
              <c:idx val="16"/>
              <c:tx>
                <c:rich>
                  <a:bodyPr/>
                  <a:lstStyle/>
                  <a:p>
                    <a:r>
                      <a:t>240.0</a:t>
                    </a:r>
                  </a:p>
                </c:rich>
              </c:tx>
              <c:showLegendKey val="0"/>
              <c:showVal val="1"/>
              <c:showCatName val="0"/>
              <c:showSerName val="0"/>
              <c:showPercent val="0"/>
              <c:showBubbleSize val="0"/>
            </c:dLbl>
            <c:dLbl>
              <c:idx val="17"/>
              <c:tx>
                <c:rich>
                  <a:bodyPr/>
                  <a:lstStyle/>
                  <a:p>
                    <a:r>
                      <a:t>179.0</a:t>
                    </a:r>
                  </a:p>
                </c:rich>
              </c:tx>
              <c:showLegendKey val="0"/>
              <c:showVal val="1"/>
              <c:showCatName val="0"/>
              <c:showSerName val="0"/>
              <c:showPercent val="0"/>
              <c:showBubbleSize val="0"/>
            </c:dLbl>
            <c:dLbl>
              <c:idx val="18"/>
              <c:tx>
                <c:rich>
                  <a:bodyPr/>
                  <a:lstStyle/>
                  <a:p>
                    <a:r>
                      <a:t>179.0</a:t>
                    </a:r>
                  </a:p>
                </c:rich>
              </c:tx>
              <c:showLegendKey val="0"/>
              <c:showVal val="1"/>
              <c:showCatName val="0"/>
              <c:showSerName val="0"/>
              <c:showPercent val="0"/>
              <c:showBubbleSize val="0"/>
            </c:dLbl>
            <c:dLbl>
              <c:idx val="19"/>
              <c:tx>
                <c:rich>
                  <a:bodyPr/>
                  <a:lstStyle/>
                  <a:p>
                    <a:r>
                      <a:t>179.0</a:t>
                    </a:r>
                  </a:p>
                </c:rich>
              </c:tx>
              <c:showLegendKey val="0"/>
              <c:showVal val="1"/>
              <c:showCatName val="0"/>
              <c:showSerName val="0"/>
              <c:showPercent val="0"/>
              <c:showBubbleSize val="0"/>
            </c:dLbl>
            <c:dLbl>
              <c:idx val="20"/>
              <c:tx>
                <c:rich>
                  <a:bodyPr/>
                  <a:lstStyle/>
                  <a:p>
                    <a:r>
                      <a:t>299.0</a:t>
                    </a:r>
                  </a:p>
                </c:rich>
              </c:tx>
              <c:showLegendKey val="0"/>
              <c:showVal val="1"/>
              <c:showCatName val="0"/>
              <c:showSerName val="0"/>
              <c:showPercent val="0"/>
              <c:showBubbleSize val="0"/>
            </c:dLbl>
            <c:dLbl>
              <c:idx val="21"/>
              <c:tx>
                <c:rich>
                  <a:bodyPr/>
                  <a:lstStyle/>
                  <a:p>
                    <a:r>
                      <a:t>299.0</a:t>
                    </a:r>
                  </a:p>
                </c:rich>
              </c:tx>
              <c:showLegendKey val="0"/>
              <c:showVal val="1"/>
              <c:showCatName val="0"/>
              <c:showSerName val="0"/>
              <c:showPercent val="0"/>
              <c:showBubbleSize val="0"/>
            </c:dLbl>
            <c:dLbl>
              <c:idx val="22"/>
              <c:tx>
                <c:rich>
                  <a:bodyPr/>
                  <a:lstStyle/>
                  <a:p>
                    <a:r>
                      <a:t>105.0</a:t>
                    </a:r>
                  </a:p>
                </c:rich>
              </c:tx>
              <c:showLegendKey val="0"/>
              <c:showVal val="1"/>
              <c:showCatName val="0"/>
              <c:showSerName val="0"/>
              <c:showPercent val="0"/>
              <c:showBubbleSize val="0"/>
            </c:dLbl>
            <c:dLbl>
              <c:idx val="23"/>
              <c:tx>
                <c:rich>
                  <a:bodyPr/>
                  <a:lstStyle/>
                  <a:p>
                    <a:r>
                      <a:t>350.0</a:t>
                    </a:r>
                  </a:p>
                </c:rich>
              </c:tx>
              <c:showLegendKey val="0"/>
              <c:showVal val="1"/>
              <c:showCatName val="0"/>
              <c:showSerName val="0"/>
              <c:showPercent val="0"/>
              <c:showBubbleSize val="0"/>
            </c:dLbl>
            <c:dLbl>
              <c:idx val="24"/>
              <c:tx>
                <c:rich>
                  <a:bodyPr/>
                  <a:lstStyle/>
                  <a:p>
                    <a:r>
                      <a:t>205.0</a:t>
                    </a:r>
                  </a:p>
                </c:rich>
              </c:tx>
              <c:showLegendKey val="0"/>
              <c:showVal val="1"/>
              <c:showCatName val="0"/>
              <c:showSerName val="0"/>
              <c:showPercent val="0"/>
              <c:showBubbleSize val="0"/>
            </c:dLbl>
            <c:dLbl>
              <c:idx val="25"/>
              <c:tx>
                <c:rich>
                  <a:bodyPr/>
                  <a:lstStyle/>
                  <a:p>
                    <a:r>
                      <a:t>350.0</a:t>
                    </a:r>
                  </a:p>
                </c:rich>
              </c:tx>
              <c:showLegendKey val="0"/>
              <c:showVal val="1"/>
              <c:showCatName val="0"/>
              <c:showSerName val="0"/>
              <c:showPercent val="0"/>
              <c:showBubbleSize val="0"/>
            </c:dLbl>
            <c:dLbl>
              <c:idx val="26"/>
              <c:tx>
                <c:rich>
                  <a:bodyPr/>
                  <a:lstStyle/>
                  <a:p>
                    <a:r>
                      <a:t>350.0</a:t>
                    </a:r>
                  </a:p>
                </c:rich>
              </c:tx>
              <c:showLegendKey val="0"/>
              <c:showVal val="1"/>
              <c:showCatName val="0"/>
              <c:showSerName val="0"/>
              <c:showPercent val="0"/>
              <c:showBubbleSize val="0"/>
            </c:dLbl>
            <c:dLbl>
              <c:idx val="27"/>
              <c:tx>
                <c:rich>
                  <a:bodyPr/>
                  <a:lstStyle/>
                  <a:p>
                    <a:r>
                      <a:t>125.0</a:t>
                    </a:r>
                  </a:p>
                </c:rich>
              </c:tx>
              <c:showLegendKey val="0"/>
              <c:showVal val="1"/>
              <c:showCatName val="0"/>
              <c:showSerName val="0"/>
              <c:showPercent val="0"/>
              <c:showBubbleSize val="0"/>
            </c:dLbl>
            <c:dLbl>
              <c:idx val="28"/>
              <c:tx>
                <c:rich>
                  <a:bodyPr/>
                  <a:lstStyle/>
                  <a:p>
                    <a:r>
                      <a:t>385.0</a:t>
                    </a:r>
                  </a:p>
                </c:rich>
              </c:tx>
              <c:showLegendKey val="0"/>
              <c:showVal val="1"/>
              <c:showCatName val="0"/>
              <c:showSerName val="0"/>
              <c:showPercent val="0"/>
              <c:showBubbleSize val="0"/>
            </c:dLbl>
            <c:dLbl>
              <c:idx val="29"/>
              <c:tx>
                <c:rich>
                  <a:bodyPr/>
                  <a:lstStyle/>
                  <a:p>
                    <a:r>
                      <a:t>299.0</a:t>
                    </a:r>
                  </a:p>
                </c:rich>
              </c:tx>
              <c:showLegendKey val="0"/>
              <c:showVal val="1"/>
              <c:showCatName val="0"/>
              <c:showSerName val="0"/>
              <c:showPercent val="0"/>
              <c:showBubbleSize val="0"/>
            </c:dLbl>
            <c:dLbl>
              <c:idx val="30"/>
              <c:tx>
                <c:rich>
                  <a:bodyPr/>
                  <a:lstStyle/>
                  <a:p>
                    <a:r>
                      <a:t>205.0</a:t>
                    </a:r>
                  </a:p>
                </c:rich>
              </c:tx>
              <c:showLegendKey val="0"/>
              <c:showVal val="1"/>
              <c:showCatName val="0"/>
              <c:showSerName val="0"/>
              <c:showPercent val="0"/>
              <c:showBubbleSize val="0"/>
            </c:dLbl>
            <c:dLbl>
              <c:idx val="31"/>
              <c:tx>
                <c:rich>
                  <a:bodyPr/>
                  <a:lstStyle/>
                  <a:p>
                    <a:r>
                      <a:t>105.0</a:t>
                    </a:r>
                  </a:p>
                </c:rich>
              </c:tx>
              <c:showLegendKey val="0"/>
              <c:showVal val="1"/>
              <c:showCatName val="0"/>
              <c:showSerName val="0"/>
              <c:showPercent val="0"/>
              <c:showBubbleSize val="0"/>
            </c:dLbl>
            <c:dLbl>
              <c:idx val="3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4</c:f>
              <c:strCache>
                <c:ptCount val="33"/>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Cosmetics Spray Crema 50+ 220Ml</c:v>
                </c:pt>
                <c:pt idx="8">
                  <c:v>Edgewell Banana Boat Dry Balance Sunscreen Adults Sport Crema 50+ 180Ml</c:v>
                </c:pt>
                <c:pt idx="9">
                  <c:v>Edgewell Banana Boat Dry Balance Sunscreen Adults Sport Spray Liquido 50 220Ml</c:v>
                </c:pt>
                <c:pt idx="10">
                  <c:v>Edgewell Banana Boat Kids Sport Sunscreen Kids Cosmetics Crema 50 180Ml</c:v>
                </c:pt>
                <c:pt idx="11">
                  <c:v>Edgewell Banana Boat Mineral Sunscreen Adults Cosmetics Locion 50 60Ml</c:v>
                </c:pt>
                <c:pt idx="12">
                  <c:v>Edgewell Banana Boat Mineral Sunscreen Adults Sport Locion 50 180Ml</c:v>
                </c:pt>
                <c:pt idx="13">
                  <c:v>Edgewell Banana Boat Mineral Sunscreen Kids Cosmetics Locion 50 180Ml</c:v>
                </c:pt>
                <c:pt idx="14">
                  <c:v>Edgewell Banana Boat Tanning Tanning Adults Cosmetics Spray Aceite 0 - 5 237Ml</c:v>
                </c:pt>
                <c:pt idx="15">
                  <c:v>Edgewell Banana Boat Ultra Sunscreen Adults Sport Roll-On 60+ 75Ml</c:v>
                </c:pt>
                <c:pt idx="16">
                  <c:v>Edgewell Beauty Care Antioxidant Sunscreen Adults Cosmetics Liquido 15 - 19 100Ml</c:v>
                </c:pt>
                <c:pt idx="17">
                  <c:v>Edgewell Beauty Care Antioxidant Sunscreen Adults Cosmetics Liquido 50+ 50Ml</c:v>
                </c:pt>
                <c:pt idx="18">
                  <c:v>Edgewell Beauty Care Matte Sunscreen Adults Cosmetics Liquido 30 50Ml</c:v>
                </c:pt>
                <c:pt idx="19">
                  <c:v>Edgewell Beauty Care Sensitive Sunscreen Adults Cosmetics Liquido 50+ 50Ml</c:v>
                </c:pt>
                <c:pt idx="20">
                  <c:v>Edgewell Hawaiian Tropic After Sun After Sun Adults Cosmetics Gel 0 - 5 240Ml</c:v>
                </c:pt>
                <c:pt idx="21">
                  <c:v>Edgewell Hawaiian Tropic Carrot Tanning Adults Cosmetics Crema 10 - 14 240Ml</c:v>
                </c:pt>
                <c:pt idx="22">
                  <c:v>Edgewell Hawaiian Tropic Island Sport Sunscreen Adults Sport Liquido 50 60Ml</c:v>
                </c:pt>
                <c:pt idx="23">
                  <c:v>Edgewell Hawaiian Tropic Other Sunscreen Adults Cosmetics Crema 50+ 240Ml</c:v>
                </c:pt>
                <c:pt idx="24">
                  <c:v>Edgewell Hawaiian Tropic Ozono Sunscreen Adults Cosmetics Liquido 50+ 120Ml</c:v>
                </c:pt>
                <c:pt idx="25">
                  <c:v>Edgewell Hawaiian Tropic Ozono Sunscreen Adults Cosmetics Liquido 50+ 180Ml</c:v>
                </c:pt>
                <c:pt idx="26">
                  <c:v>Edgewell Hawaiian Tropic Ozono Sunscreen Adults Cosmetics Liquido 50+ 240Ml</c:v>
                </c:pt>
                <c:pt idx="27">
                  <c:v>Edgewell Hawaiian Tropic Ozono Sunscreen Adults Cosmetics Liquido 50+ 90Ml</c:v>
                </c:pt>
                <c:pt idx="28">
                  <c:v>Edgewell Hawaiian Tropic Ozono Sunscreen Adults Cosmetics Spray Liquido 50+ 180Ml</c:v>
                </c:pt>
                <c:pt idx="29">
                  <c:v>Edgewell Hawaiian Tropic Sheer Touch Sunscreen Adults Cosmetics Crema 30 - 49 240Ml</c:v>
                </c:pt>
                <c:pt idx="30">
                  <c:v>Edgewell Hawaiian Tropic Sheer Touch Sunscreen Adults Cosmetics Crema 50 120Ml</c:v>
                </c:pt>
                <c:pt idx="31">
                  <c:v>Edgewell Hawaiian Tropic Sheer Touch Sunscreen Adults Cosmetics Liquido 30 - 49 60Ml</c:v>
                </c:pt>
                <c:pt idx="32">
                  <c:v>Edgewell Hawaiian Tropic Tanning Sunscreen Adults Cosmetics Spray Liquido 15 - 19 220Ml</c:v>
                </c:pt>
              </c:strCache>
            </c:strRef>
          </c:cat>
          <c:val>
            <c:numRef>
              <c:f>Sheet1!$B$2:$B$34</c:f>
              <c:numCache>
                <c:formatCode>General</c:formatCode>
                <c:ptCount val="33"/>
                <c:pt idx="0">
                  <c:v>310.0</c:v>
                </c:pt>
                <c:pt idx="1">
                  <c:v>105.0</c:v>
                </c:pt>
                <c:pt idx="2">
                  <c:v>305.0</c:v>
                </c:pt>
                <c:pt idx="3">
                  <c:v>349.0</c:v>
                </c:pt>
                <c:pt idx="4">
                  <c:v>305.0</c:v>
                </c:pt>
                <c:pt idx="5">
                  <c:v>368.42</c:v>
                </c:pt>
                <c:pt idx="6">
                  <c:v>305.0</c:v>
                </c:pt>
                <c:pt idx="7">
                  <c:v>249.0</c:v>
                </c:pt>
                <c:pt idx="8">
                  <c:v>335.0</c:v>
                </c:pt>
                <c:pt idx="9">
                  <c:v>385.0</c:v>
                </c:pt>
                <c:pt idx="10">
                  <c:v>305.0</c:v>
                </c:pt>
                <c:pt idx="11">
                  <c:v>310.0</c:v>
                </c:pt>
                <c:pt idx="12">
                  <c:v>249.0</c:v>
                </c:pt>
                <c:pt idx="13">
                  <c:v>242.0</c:v>
                </c:pt>
                <c:pt idx="14">
                  <c:v>279.0</c:v>
                </c:pt>
                <c:pt idx="15">
                  <c:v>215.0</c:v>
                </c:pt>
                <c:pt idx="16">
                  <c:v>240.0</c:v>
                </c:pt>
                <c:pt idx="17">
                  <c:v>179.0</c:v>
                </c:pt>
                <c:pt idx="18">
                  <c:v>179.0</c:v>
                </c:pt>
                <c:pt idx="19">
                  <c:v>179.0</c:v>
                </c:pt>
                <c:pt idx="20">
                  <c:v>299.0</c:v>
                </c:pt>
                <c:pt idx="21">
                  <c:v>299.0</c:v>
                </c:pt>
                <c:pt idx="22">
                  <c:v>105.0</c:v>
                </c:pt>
                <c:pt idx="23">
                  <c:v>350.0</c:v>
                </c:pt>
                <c:pt idx="24">
                  <c:v>205.0</c:v>
                </c:pt>
                <c:pt idx="25">
                  <c:v>350.0</c:v>
                </c:pt>
                <c:pt idx="26">
                  <c:v>350.0</c:v>
                </c:pt>
                <c:pt idx="27">
                  <c:v>125.0</c:v>
                </c:pt>
                <c:pt idx="28">
                  <c:v>385.0</c:v>
                </c:pt>
                <c:pt idx="29">
                  <c:v>299.0</c:v>
                </c:pt>
                <c:pt idx="30">
                  <c:v>205.0</c:v>
                </c:pt>
                <c:pt idx="31">
                  <c:v>105.0</c:v>
                </c:pt>
                <c:pt idx="3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7.5</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335.0</a:t>
                    </a:r>
                  </a:p>
                </c:rich>
              </c:tx>
              <c:showLegendKey val="0"/>
              <c:showVal val="1"/>
              <c:showCatName val="0"/>
              <c:showSerName val="0"/>
              <c:showPercent val="0"/>
              <c:showBubbleSize val="0"/>
            </c:dLbl>
            <c:dLbl>
              <c:idx val="9"/>
              <c:tx>
                <c:rich>
                  <a:bodyPr/>
                  <a:lstStyle/>
                  <a:p>
                    <a:r>
                      <a:t>385.0</a:t>
                    </a:r>
                  </a:p>
                </c:rich>
              </c:tx>
              <c:showLegendKey val="0"/>
              <c:showVal val="1"/>
              <c:showCatName val="0"/>
              <c:showSerName val="0"/>
              <c:showPercent val="0"/>
              <c:showBubbleSize val="0"/>
            </c:dLbl>
            <c:dLbl>
              <c:idx val="10"/>
              <c:tx>
                <c:rich>
                  <a:bodyPr/>
                  <a:lstStyle/>
                  <a:p>
                    <a:r>
                      <a:t>305.0</a:t>
                    </a:r>
                  </a:p>
                </c:rich>
              </c:tx>
              <c:showLegendKey val="0"/>
              <c:showVal val="1"/>
              <c:showCatName val="0"/>
              <c:showSerName val="0"/>
              <c:showPercent val="0"/>
              <c:showBubbleSize val="0"/>
            </c:dLbl>
            <c:dLbl>
              <c:idx val="11"/>
              <c:tx>
                <c:rich>
                  <a:bodyPr/>
                  <a:lstStyle/>
                  <a:p>
                    <a:r>
                      <a:t>310.0</a:t>
                    </a:r>
                  </a:p>
                </c:rich>
              </c:tx>
              <c:showLegendKey val="0"/>
              <c:showVal val="1"/>
              <c:showCatName val="0"/>
              <c:showSerName val="0"/>
              <c:showPercent val="0"/>
              <c:showBubbleSize val="0"/>
            </c:dLbl>
            <c:dLbl>
              <c:idx val="12"/>
              <c:tx>
                <c:rich>
                  <a:bodyPr/>
                  <a:lstStyle/>
                  <a:p>
                    <a:r>
                      <a:t>249.0</a:t>
                    </a:r>
                  </a:p>
                </c:rich>
              </c:tx>
              <c:showLegendKey val="0"/>
              <c:showVal val="1"/>
              <c:showCatName val="0"/>
              <c:showSerName val="0"/>
              <c:showPercent val="0"/>
              <c:showBubbleSize val="0"/>
            </c:dLbl>
            <c:dLbl>
              <c:idx val="13"/>
              <c:tx>
                <c:rich>
                  <a:bodyPr/>
                  <a:lstStyle/>
                  <a:p>
                    <a:r>
                      <a:t>242.0</a:t>
                    </a:r>
                  </a:p>
                </c:rich>
              </c:tx>
              <c:showLegendKey val="0"/>
              <c:showVal val="1"/>
              <c:showCatName val="0"/>
              <c:showSerName val="0"/>
              <c:showPercent val="0"/>
              <c:showBubbleSize val="0"/>
            </c:dLbl>
            <c:dLbl>
              <c:idx val="14"/>
              <c:tx>
                <c:rich>
                  <a:bodyPr/>
                  <a:lstStyle/>
                  <a:p>
                    <a:r>
                      <a:t>279.0</a:t>
                    </a:r>
                  </a:p>
                </c:rich>
              </c:tx>
              <c:showLegendKey val="0"/>
              <c:showVal val="1"/>
              <c:showCatName val="0"/>
              <c:showSerName val="0"/>
              <c:showPercent val="0"/>
              <c:showBubbleSize val="0"/>
            </c:dLbl>
            <c:dLbl>
              <c:idx val="15"/>
              <c:tx>
                <c:rich>
                  <a:bodyPr/>
                  <a:lstStyle/>
                  <a:p>
                    <a:r>
                      <a:t>215.0</a:t>
                    </a:r>
                  </a:p>
                </c:rich>
              </c:tx>
              <c:showLegendKey val="0"/>
              <c:showVal val="1"/>
              <c:showCatName val="0"/>
              <c:showSerName val="0"/>
              <c:showPercent val="0"/>
              <c:showBubbleSize val="0"/>
            </c:dLbl>
            <c:dLbl>
              <c:idx val="16"/>
              <c:tx>
                <c:rich>
                  <a:bodyPr/>
                  <a:lstStyle/>
                  <a:p>
                    <a:r>
                      <a:t>240.0</a:t>
                    </a:r>
                  </a:p>
                </c:rich>
              </c:tx>
              <c:showLegendKey val="0"/>
              <c:showVal val="1"/>
              <c:showCatName val="0"/>
              <c:showSerName val="0"/>
              <c:showPercent val="0"/>
              <c:showBubbleSize val="0"/>
            </c:dLbl>
            <c:dLbl>
              <c:idx val="17"/>
              <c:tx>
                <c:rich>
                  <a:bodyPr/>
                  <a:lstStyle/>
                  <a:p>
                    <a:r>
                      <a:t>179.0</a:t>
                    </a:r>
                  </a:p>
                </c:rich>
              </c:tx>
              <c:showLegendKey val="0"/>
              <c:showVal val="1"/>
              <c:showCatName val="0"/>
              <c:showSerName val="0"/>
              <c:showPercent val="0"/>
              <c:showBubbleSize val="0"/>
            </c:dLbl>
            <c:dLbl>
              <c:idx val="18"/>
              <c:tx>
                <c:rich>
                  <a:bodyPr/>
                  <a:lstStyle/>
                  <a:p>
                    <a:r>
                      <a:t>179.0</a:t>
                    </a:r>
                  </a:p>
                </c:rich>
              </c:tx>
              <c:showLegendKey val="0"/>
              <c:showVal val="1"/>
              <c:showCatName val="0"/>
              <c:showSerName val="0"/>
              <c:showPercent val="0"/>
              <c:showBubbleSize val="0"/>
            </c:dLbl>
            <c:dLbl>
              <c:idx val="19"/>
              <c:tx>
                <c:rich>
                  <a:bodyPr/>
                  <a:lstStyle/>
                  <a:p>
                    <a:r>
                      <a:t>179.0</a:t>
                    </a:r>
                  </a:p>
                </c:rich>
              </c:tx>
              <c:showLegendKey val="0"/>
              <c:showVal val="1"/>
              <c:showCatName val="0"/>
              <c:showSerName val="0"/>
              <c:showPercent val="0"/>
              <c:showBubbleSize val="0"/>
            </c:dLbl>
            <c:dLbl>
              <c:idx val="20"/>
              <c:tx>
                <c:rich>
                  <a:bodyPr/>
                  <a:lstStyle/>
                  <a:p>
                    <a:r>
                      <a:t>299.0</a:t>
                    </a:r>
                  </a:p>
                </c:rich>
              </c:tx>
              <c:showLegendKey val="0"/>
              <c:showVal val="1"/>
              <c:showCatName val="0"/>
              <c:showSerName val="0"/>
              <c:showPercent val="0"/>
              <c:showBubbleSize val="0"/>
            </c:dLbl>
            <c:dLbl>
              <c:idx val="21"/>
              <c:tx>
                <c:rich>
                  <a:bodyPr/>
                  <a:lstStyle/>
                  <a:p>
                    <a:r>
                      <a:t>299.0</a:t>
                    </a:r>
                  </a:p>
                </c:rich>
              </c:tx>
              <c:showLegendKey val="0"/>
              <c:showVal val="1"/>
              <c:showCatName val="0"/>
              <c:showSerName val="0"/>
              <c:showPercent val="0"/>
              <c:showBubbleSize val="0"/>
            </c:dLbl>
            <c:dLbl>
              <c:idx val="22"/>
              <c:tx>
                <c:rich>
                  <a:bodyPr/>
                  <a:lstStyle/>
                  <a:p>
                    <a:r>
                      <a:t>105.0</a:t>
                    </a:r>
                  </a:p>
                </c:rich>
              </c:tx>
              <c:showLegendKey val="0"/>
              <c:showVal val="1"/>
              <c:showCatName val="0"/>
              <c:showSerName val="0"/>
              <c:showPercent val="0"/>
              <c:showBubbleSize val="0"/>
            </c:dLbl>
            <c:dLbl>
              <c:idx val="23"/>
              <c:tx>
                <c:rich>
                  <a:bodyPr/>
                  <a:lstStyle/>
                  <a:p>
                    <a:r>
                      <a:t>350.0</a:t>
                    </a:r>
                  </a:p>
                </c:rich>
              </c:tx>
              <c:showLegendKey val="0"/>
              <c:showVal val="1"/>
              <c:showCatName val="0"/>
              <c:showSerName val="0"/>
              <c:showPercent val="0"/>
              <c:showBubbleSize val="0"/>
            </c:dLbl>
            <c:dLbl>
              <c:idx val="24"/>
              <c:tx>
                <c:rich>
                  <a:bodyPr/>
                  <a:lstStyle/>
                  <a:p>
                    <a:r>
                      <a:t>205.0</a:t>
                    </a:r>
                  </a:p>
                </c:rich>
              </c:tx>
              <c:showLegendKey val="0"/>
              <c:showVal val="1"/>
              <c:showCatName val="0"/>
              <c:showSerName val="0"/>
              <c:showPercent val="0"/>
              <c:showBubbleSize val="0"/>
            </c:dLbl>
            <c:dLbl>
              <c:idx val="25"/>
              <c:tx>
                <c:rich>
                  <a:bodyPr/>
                  <a:lstStyle/>
                  <a:p>
                    <a:r>
                      <a:t>350.0</a:t>
                    </a:r>
                  </a:p>
                </c:rich>
              </c:tx>
              <c:showLegendKey val="0"/>
              <c:showVal val="1"/>
              <c:showCatName val="0"/>
              <c:showSerName val="0"/>
              <c:showPercent val="0"/>
              <c:showBubbleSize val="0"/>
            </c:dLbl>
            <c:dLbl>
              <c:idx val="26"/>
              <c:tx>
                <c:rich>
                  <a:bodyPr/>
                  <a:lstStyle/>
                  <a:p>
                    <a:r>
                      <a:t>350.0</a:t>
                    </a:r>
                  </a:p>
                </c:rich>
              </c:tx>
              <c:showLegendKey val="0"/>
              <c:showVal val="1"/>
              <c:showCatName val="0"/>
              <c:showSerName val="0"/>
              <c:showPercent val="0"/>
              <c:showBubbleSize val="0"/>
            </c:dLbl>
            <c:dLbl>
              <c:idx val="27"/>
              <c:tx>
                <c:rich>
                  <a:bodyPr/>
                  <a:lstStyle/>
                  <a:p>
                    <a:r>
                      <a:t>125.0</a:t>
                    </a:r>
                  </a:p>
                </c:rich>
              </c:tx>
              <c:showLegendKey val="0"/>
              <c:showVal val="1"/>
              <c:showCatName val="0"/>
              <c:showSerName val="0"/>
              <c:showPercent val="0"/>
              <c:showBubbleSize val="0"/>
            </c:dLbl>
            <c:dLbl>
              <c:idx val="28"/>
              <c:tx>
                <c:rich>
                  <a:bodyPr/>
                  <a:lstStyle/>
                  <a:p>
                    <a:r>
                      <a:t>385.0</a:t>
                    </a:r>
                  </a:p>
                </c:rich>
              </c:tx>
              <c:showLegendKey val="0"/>
              <c:showVal val="1"/>
              <c:showCatName val="0"/>
              <c:showSerName val="0"/>
              <c:showPercent val="0"/>
              <c:showBubbleSize val="0"/>
            </c:dLbl>
            <c:dLbl>
              <c:idx val="29"/>
              <c:tx>
                <c:rich>
                  <a:bodyPr/>
                  <a:lstStyle/>
                  <a:p>
                    <a:r>
                      <a:t>299.0</a:t>
                    </a:r>
                  </a:p>
                </c:rich>
              </c:tx>
              <c:showLegendKey val="0"/>
              <c:showVal val="1"/>
              <c:showCatName val="0"/>
              <c:showSerName val="0"/>
              <c:showPercent val="0"/>
              <c:showBubbleSize val="0"/>
            </c:dLbl>
            <c:dLbl>
              <c:idx val="30"/>
              <c:tx>
                <c:rich>
                  <a:bodyPr/>
                  <a:lstStyle/>
                  <a:p>
                    <a:r>
                      <a:t>205.0</a:t>
                    </a:r>
                  </a:p>
                </c:rich>
              </c:tx>
              <c:showLegendKey val="0"/>
              <c:showVal val="1"/>
              <c:showCatName val="0"/>
              <c:showSerName val="0"/>
              <c:showPercent val="0"/>
              <c:showBubbleSize val="0"/>
            </c:dLbl>
            <c:dLbl>
              <c:idx val="31"/>
              <c:tx>
                <c:rich>
                  <a:bodyPr/>
                  <a:lstStyle/>
                  <a:p>
                    <a:r>
                      <a:t>105.0</a:t>
                    </a:r>
                  </a:p>
                </c:rich>
              </c:tx>
              <c:showLegendKey val="0"/>
              <c:showVal val="1"/>
              <c:showCatName val="0"/>
              <c:showSerName val="0"/>
              <c:showPercent val="0"/>
              <c:showBubbleSize val="0"/>
            </c:dLbl>
            <c:dLbl>
              <c:idx val="3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4</c:f>
              <c:strCache>
                <c:ptCount val="33"/>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Cosmetics Spray Crema 50+ 220Ml</c:v>
                </c:pt>
                <c:pt idx="8">
                  <c:v>Edgewell Banana Boat Dry Balance Sunscreen Adults Sport Crema 50+ 180Ml</c:v>
                </c:pt>
                <c:pt idx="9">
                  <c:v>Edgewell Banana Boat Dry Balance Sunscreen Adults Sport Spray Liquido 50 220Ml</c:v>
                </c:pt>
                <c:pt idx="10">
                  <c:v>Edgewell Banana Boat Kids Sport Sunscreen Kids Cosmetics Crema 50 180Ml</c:v>
                </c:pt>
                <c:pt idx="11">
                  <c:v>Edgewell Banana Boat Mineral Sunscreen Adults Cosmetics Locion 50 60Ml</c:v>
                </c:pt>
                <c:pt idx="12">
                  <c:v>Edgewell Banana Boat Mineral Sunscreen Adults Sport Locion 50 180Ml</c:v>
                </c:pt>
                <c:pt idx="13">
                  <c:v>Edgewell Banana Boat Mineral Sunscreen Kids Cosmetics Locion 50 180Ml</c:v>
                </c:pt>
                <c:pt idx="14">
                  <c:v>Edgewell Banana Boat Tanning Tanning Adults Cosmetics Spray Aceite 0 - 5 237Ml</c:v>
                </c:pt>
                <c:pt idx="15">
                  <c:v>Edgewell Banana Boat Ultra Sunscreen Adults Sport Roll-On 60+ 75Ml</c:v>
                </c:pt>
                <c:pt idx="16">
                  <c:v>Edgewell Beauty Care Antioxidant Sunscreen Adults Cosmetics Liquido 15 - 19 100Ml</c:v>
                </c:pt>
                <c:pt idx="17">
                  <c:v>Edgewell Beauty Care Antioxidant Sunscreen Adults Cosmetics Liquido 50+ 50Ml</c:v>
                </c:pt>
                <c:pt idx="18">
                  <c:v>Edgewell Beauty Care Matte Sunscreen Adults Cosmetics Liquido 30 50Ml</c:v>
                </c:pt>
                <c:pt idx="19">
                  <c:v>Edgewell Beauty Care Sensitive Sunscreen Adults Cosmetics Liquido 50+ 50Ml</c:v>
                </c:pt>
                <c:pt idx="20">
                  <c:v>Edgewell Hawaiian Tropic After Sun After Sun Adults Cosmetics Gel 0 - 5 240Ml</c:v>
                </c:pt>
                <c:pt idx="21">
                  <c:v>Edgewell Hawaiian Tropic Carrot Tanning Adults Cosmetics Crema 10 - 14 240Ml</c:v>
                </c:pt>
                <c:pt idx="22">
                  <c:v>Edgewell Hawaiian Tropic Island Sport Sunscreen Adults Sport Liquido 50 60Ml</c:v>
                </c:pt>
                <c:pt idx="23">
                  <c:v>Edgewell Hawaiian Tropic Other Sunscreen Adults Cosmetics Crema 50+ 240Ml</c:v>
                </c:pt>
                <c:pt idx="24">
                  <c:v>Edgewell Hawaiian Tropic Ozono Sunscreen Adults Cosmetics Liquido 50+ 120Ml</c:v>
                </c:pt>
                <c:pt idx="25">
                  <c:v>Edgewell Hawaiian Tropic Ozono Sunscreen Adults Cosmetics Liquido 50+ 180Ml</c:v>
                </c:pt>
                <c:pt idx="26">
                  <c:v>Edgewell Hawaiian Tropic Ozono Sunscreen Adults Cosmetics Liquido 50+ 240Ml</c:v>
                </c:pt>
                <c:pt idx="27">
                  <c:v>Edgewell Hawaiian Tropic Ozono Sunscreen Adults Cosmetics Liquido 50+ 90Ml</c:v>
                </c:pt>
                <c:pt idx="28">
                  <c:v>Edgewell Hawaiian Tropic Ozono Sunscreen Adults Cosmetics Spray Liquido 50+ 180Ml</c:v>
                </c:pt>
                <c:pt idx="29">
                  <c:v>Edgewell Hawaiian Tropic Sheer Touch Sunscreen Adults Cosmetics Crema 30 - 49 240Ml</c:v>
                </c:pt>
                <c:pt idx="30">
                  <c:v>Edgewell Hawaiian Tropic Sheer Touch Sunscreen Adults Cosmetics Crema 50 120Ml</c:v>
                </c:pt>
                <c:pt idx="31">
                  <c:v>Edgewell Hawaiian Tropic Sheer Touch Sunscreen Adults Cosmetics Liquido 30 - 49 60Ml</c:v>
                </c:pt>
                <c:pt idx="32">
                  <c:v>Edgewell Hawaiian Tropic Tanning Sunscreen Adults Cosmetics Spray Liquido 15 - 19 220Ml</c:v>
                </c:pt>
              </c:strCache>
            </c:strRef>
          </c:cat>
          <c:val>
            <c:numRef>
              <c:f>Sheet1!$B$2:$B$34</c:f>
              <c:numCache>
                <c:formatCode>General</c:formatCode>
                <c:ptCount val="33"/>
                <c:pt idx="0">
                  <c:v>310.0</c:v>
                </c:pt>
                <c:pt idx="1">
                  <c:v>105.0</c:v>
                </c:pt>
                <c:pt idx="2">
                  <c:v>305.0</c:v>
                </c:pt>
                <c:pt idx="3">
                  <c:v>349.0</c:v>
                </c:pt>
                <c:pt idx="4">
                  <c:v>305.0</c:v>
                </c:pt>
                <c:pt idx="5">
                  <c:v>367.5</c:v>
                </c:pt>
                <c:pt idx="6">
                  <c:v>305.0</c:v>
                </c:pt>
                <c:pt idx="7">
                  <c:v>249.0</c:v>
                </c:pt>
                <c:pt idx="8">
                  <c:v>335.0</c:v>
                </c:pt>
                <c:pt idx="9">
                  <c:v>385.0</c:v>
                </c:pt>
                <c:pt idx="10">
                  <c:v>305.0</c:v>
                </c:pt>
                <c:pt idx="11">
                  <c:v>310.0</c:v>
                </c:pt>
                <c:pt idx="12">
                  <c:v>249.0</c:v>
                </c:pt>
                <c:pt idx="13">
                  <c:v>242.0</c:v>
                </c:pt>
                <c:pt idx="14">
                  <c:v>279.0</c:v>
                </c:pt>
                <c:pt idx="15">
                  <c:v>215.0</c:v>
                </c:pt>
                <c:pt idx="16">
                  <c:v>240.0</c:v>
                </c:pt>
                <c:pt idx="17">
                  <c:v>179.0</c:v>
                </c:pt>
                <c:pt idx="18">
                  <c:v>179.0</c:v>
                </c:pt>
                <c:pt idx="19">
                  <c:v>179.0</c:v>
                </c:pt>
                <c:pt idx="20">
                  <c:v>299.0</c:v>
                </c:pt>
                <c:pt idx="21">
                  <c:v>299.0</c:v>
                </c:pt>
                <c:pt idx="22">
                  <c:v>105.0</c:v>
                </c:pt>
                <c:pt idx="23">
                  <c:v>350.0</c:v>
                </c:pt>
                <c:pt idx="24">
                  <c:v>205.0</c:v>
                </c:pt>
                <c:pt idx="25">
                  <c:v>350.0</c:v>
                </c:pt>
                <c:pt idx="26">
                  <c:v>350.0</c:v>
                </c:pt>
                <c:pt idx="27">
                  <c:v>125.0</c:v>
                </c:pt>
                <c:pt idx="28">
                  <c:v>385.0</c:v>
                </c:pt>
                <c:pt idx="29">
                  <c:v>299.0</c:v>
                </c:pt>
                <c:pt idx="30">
                  <c:v>205.0</c:v>
                </c:pt>
                <c:pt idx="31">
                  <c:v>105.0</c:v>
                </c:pt>
                <c:pt idx="3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dvanced Protection Sunscreen Adults Cosmetics Liquido 50+ 240Ml</c:v>
                </c:pt>
                <c:pt idx="1">
                  <c:v>Edgewell Banana Boat Aqua Protect Sunscreen Adults Cosmetics Crema 50+ 236Ml</c:v>
                </c:pt>
                <c:pt idx="2">
                  <c:v>Edgewell Banana Boat Aqua Protect Sunscreen Adults Sport Crema 50+ 236Ml</c:v>
                </c:pt>
                <c:pt idx="3">
                  <c:v>Edgewell Banana Boat Banded Pack Banded Pack 2X Sunscreen Multi 50+ 236Ml</c:v>
                </c:pt>
                <c:pt idx="4">
                  <c:v>Edgewell Banana Boat Dry Balance Sunscreen Adults Sport Crema 50+ 180Ml</c:v>
                </c:pt>
                <c:pt idx="5">
                  <c:v>Edgewell Banana Boat Tanning Tanning Adults Cosmetics Spray Aceite 0 - 5 237Ml</c:v>
                </c:pt>
              </c:strCache>
            </c:strRef>
          </c:cat>
          <c:val>
            <c:numRef>
              <c:f>Sheet1!$B$2:$B$7</c:f>
              <c:numCache>
                <c:formatCode>General</c:formatCode>
                <c:ptCount val="6"/>
                <c:pt idx="0">
                  <c:v>310.0</c:v>
                </c:pt>
                <c:pt idx="1">
                  <c:v>305.0</c:v>
                </c:pt>
                <c:pt idx="2">
                  <c:v>305.0</c:v>
                </c:pt>
                <c:pt idx="3">
                  <c:v>305.0</c:v>
                </c:pt>
                <c:pt idx="4">
                  <c:v>335.0</c:v>
                </c:pt>
                <c:pt idx="5">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4.0</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79.0</a:t>
                    </a:r>
                  </a:p>
                </c:rich>
              </c:tx>
              <c:showLegendKey val="0"/>
              <c:showVal val="1"/>
              <c:showCatName val="0"/>
              <c:showSerName val="0"/>
              <c:showPercent val="0"/>
              <c:showBubbleSize val="0"/>
            </c:dLbl>
            <c:dLbl>
              <c:idx val="14"/>
              <c:tx>
                <c:rich>
                  <a:bodyPr/>
                  <a:lstStyle/>
                  <a:p>
                    <a:r>
                      <a:t>215.0</a:t>
                    </a:r>
                  </a:p>
                </c:rich>
              </c:tx>
              <c:showLegendKey val="0"/>
              <c:showVal val="1"/>
              <c:showCatName val="0"/>
              <c:showSerName val="0"/>
              <c:showPercent val="0"/>
              <c:showBubbleSize val="0"/>
            </c:dLbl>
            <c:dLbl>
              <c:idx val="15"/>
              <c:tx>
                <c:rich>
                  <a:bodyPr/>
                  <a:lstStyle/>
                  <a:p>
                    <a:r>
                      <a:t>179.0</a:t>
                    </a:r>
                  </a:p>
                </c:rich>
              </c:tx>
              <c:showLegendKey val="0"/>
              <c:showVal val="1"/>
              <c:showCatName val="0"/>
              <c:showSerName val="0"/>
              <c:showPercent val="0"/>
              <c:showBubbleSize val="0"/>
            </c:dLbl>
            <c:dLbl>
              <c:idx val="16"/>
              <c:tx>
                <c:rich>
                  <a:bodyPr/>
                  <a:lstStyle/>
                  <a:p>
                    <a:r>
                      <a:t>179.0</a:t>
                    </a:r>
                  </a:p>
                </c:rich>
              </c:tx>
              <c:showLegendKey val="0"/>
              <c:showVal val="1"/>
              <c:showCatName val="0"/>
              <c:showSerName val="0"/>
              <c:showPercent val="0"/>
              <c:showBubbleSize val="0"/>
            </c:dLbl>
            <c:dLbl>
              <c:idx val="17"/>
              <c:tx>
                <c:rich>
                  <a:bodyPr/>
                  <a:lstStyle/>
                  <a:p>
                    <a:r>
                      <a:t>179.0</a:t>
                    </a:r>
                  </a:p>
                </c:rich>
              </c:tx>
              <c:showLegendKey val="0"/>
              <c:showVal val="1"/>
              <c:showCatName val="0"/>
              <c:showSerName val="0"/>
              <c:showPercent val="0"/>
              <c:showBubbleSize val="0"/>
            </c:dLbl>
            <c:dLbl>
              <c:idx val="18"/>
              <c:tx>
                <c:rich>
                  <a:bodyPr/>
                  <a:lstStyle/>
                  <a:p>
                    <a:r>
                      <a:t>299.0</a:t>
                    </a:r>
                  </a:p>
                </c:rich>
              </c:tx>
              <c:showLegendKey val="0"/>
              <c:showVal val="1"/>
              <c:showCatName val="0"/>
              <c:showSerName val="0"/>
              <c:showPercent val="0"/>
              <c:showBubbleSize val="0"/>
            </c:dLbl>
            <c:dLbl>
              <c:idx val="19"/>
              <c:tx>
                <c:rich>
                  <a:bodyPr/>
                  <a:lstStyle/>
                  <a:p>
                    <a:r>
                      <a:t>299.0</a:t>
                    </a:r>
                  </a:p>
                </c:rich>
              </c:tx>
              <c:showLegendKey val="0"/>
              <c:showVal val="1"/>
              <c:showCatName val="0"/>
              <c:showSerName val="0"/>
              <c:showPercent val="0"/>
              <c:showBubbleSize val="0"/>
            </c:dLbl>
            <c:dLbl>
              <c:idx val="20"/>
              <c:tx>
                <c:rich>
                  <a:bodyPr/>
                  <a:lstStyle/>
                  <a:p>
                    <a:r>
                      <a:t>105.0</a:t>
                    </a:r>
                  </a:p>
                </c:rich>
              </c:tx>
              <c:showLegendKey val="0"/>
              <c:showVal val="1"/>
              <c:showCatName val="0"/>
              <c:showSerName val="0"/>
              <c:showPercent val="0"/>
              <c:showBubbleSize val="0"/>
            </c:dLbl>
            <c:dLbl>
              <c:idx val="21"/>
              <c:tx>
                <c:rich>
                  <a:bodyPr/>
                  <a:lstStyle/>
                  <a:p>
                    <a:r>
                      <a:t>350.0</a:t>
                    </a:r>
                  </a:p>
                </c:rich>
              </c:tx>
              <c:showLegendKey val="0"/>
              <c:showVal val="1"/>
              <c:showCatName val="0"/>
              <c:showSerName val="0"/>
              <c:showPercent val="0"/>
              <c:showBubbleSize val="0"/>
            </c:dLbl>
            <c:dLbl>
              <c:idx val="22"/>
              <c:tx>
                <c:rich>
                  <a:bodyPr/>
                  <a:lstStyle/>
                  <a:p>
                    <a:r>
                      <a:t>205.0</a:t>
                    </a:r>
                  </a:p>
                </c:rich>
              </c:tx>
              <c:showLegendKey val="0"/>
              <c:showVal val="1"/>
              <c:showCatName val="0"/>
              <c:showSerName val="0"/>
              <c:showPercent val="0"/>
              <c:showBubbleSize val="0"/>
            </c:dLbl>
            <c:dLbl>
              <c:idx val="23"/>
              <c:tx>
                <c:rich>
                  <a:bodyPr/>
                  <a:lstStyle/>
                  <a:p>
                    <a:r>
                      <a:t>350.0</a:t>
                    </a:r>
                  </a:p>
                </c:rich>
              </c:tx>
              <c:showLegendKey val="0"/>
              <c:showVal val="1"/>
              <c:showCatName val="0"/>
              <c:showSerName val="0"/>
              <c:showPercent val="0"/>
              <c:showBubbleSize val="0"/>
            </c:dLbl>
            <c:dLbl>
              <c:idx val="24"/>
              <c:tx>
                <c:rich>
                  <a:bodyPr/>
                  <a:lstStyle/>
                  <a:p>
                    <a:r>
                      <a:t>350.0</a:t>
                    </a:r>
                  </a:p>
                </c:rich>
              </c:tx>
              <c:showLegendKey val="0"/>
              <c:showVal val="1"/>
              <c:showCatName val="0"/>
              <c:showSerName val="0"/>
              <c:showPercent val="0"/>
              <c:showBubbleSize val="0"/>
            </c:dLbl>
            <c:dLbl>
              <c:idx val="25"/>
              <c:tx>
                <c:rich>
                  <a:bodyPr/>
                  <a:lstStyle/>
                  <a:p>
                    <a:r>
                      <a:t>125.0</a:t>
                    </a:r>
                  </a:p>
                </c:rich>
              </c:tx>
              <c:showLegendKey val="0"/>
              <c:showVal val="1"/>
              <c:showCatName val="0"/>
              <c:showSerName val="0"/>
              <c:showPercent val="0"/>
              <c:showBubbleSize val="0"/>
            </c:dLbl>
            <c:dLbl>
              <c:idx val="26"/>
              <c:tx>
                <c:rich>
                  <a:bodyPr/>
                  <a:lstStyle/>
                  <a:p>
                    <a:r>
                      <a:t>385.0</a:t>
                    </a:r>
                  </a:p>
                </c:rich>
              </c:tx>
              <c:showLegendKey val="0"/>
              <c:showVal val="1"/>
              <c:showCatName val="0"/>
              <c:showSerName val="0"/>
              <c:showPercent val="0"/>
              <c:showBubbleSize val="0"/>
            </c:dLbl>
            <c:dLbl>
              <c:idx val="27"/>
              <c:tx>
                <c:rich>
                  <a:bodyPr/>
                  <a:lstStyle/>
                  <a:p>
                    <a:r>
                      <a:t>299.0</a:t>
                    </a:r>
                  </a:p>
                </c:rich>
              </c:tx>
              <c:showLegendKey val="0"/>
              <c:showVal val="1"/>
              <c:showCatName val="0"/>
              <c:showSerName val="0"/>
              <c:showPercent val="0"/>
              <c:showBubbleSize val="0"/>
            </c:dLbl>
            <c:dLbl>
              <c:idx val="28"/>
              <c:tx>
                <c:rich>
                  <a:bodyPr/>
                  <a:lstStyle/>
                  <a:p>
                    <a:r>
                      <a:t>205.0</a:t>
                    </a:r>
                  </a:p>
                </c:rich>
              </c:tx>
              <c:showLegendKey val="0"/>
              <c:showVal val="1"/>
              <c:showCatName val="0"/>
              <c:showSerName val="0"/>
              <c:showPercent val="0"/>
              <c:showBubbleSize val="0"/>
            </c:dLbl>
            <c:dLbl>
              <c:idx val="29"/>
              <c:tx>
                <c:rich>
                  <a:bodyPr/>
                  <a:lstStyle/>
                  <a:p>
                    <a:r>
                      <a:t>105.0</a:t>
                    </a:r>
                  </a:p>
                </c:rich>
              </c:tx>
              <c:showLegendKey val="0"/>
              <c:showVal val="1"/>
              <c:showCatName val="0"/>
              <c:showSerName val="0"/>
              <c:showPercent val="0"/>
              <c:showBubbleSize val="0"/>
            </c:dLbl>
            <c:dLbl>
              <c:idx val="3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2</c:f>
              <c:strCache>
                <c:ptCount val="31"/>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Tanning Tanning Adults Cosmetics Spray Aceite 0 - 5 237Ml</c:v>
                </c:pt>
                <c:pt idx="14">
                  <c:v>Edgewell Banana Boat Ultra Sunscreen Adults Sport Roll-On 60+ 75Ml</c:v>
                </c:pt>
                <c:pt idx="15">
                  <c:v>Edgewell Beauty Care Antioxidant Sunscreen Adults Cosmetics Liquido 50+ 50Ml</c:v>
                </c:pt>
                <c:pt idx="16">
                  <c:v>Edgewell Beauty Care Matte Sunscreen Adults Cosmetics Liquido 30 50Ml</c:v>
                </c:pt>
                <c:pt idx="17">
                  <c:v>Edgewell Beauty Care Sensitive Sunscreen Adults Cosmetics Liquido 50+ 50Ml</c:v>
                </c:pt>
                <c:pt idx="18">
                  <c:v>Edgewell Hawaiian Tropic After Sun After Sun Adults Cosmetics Gel 0 - 5 240Ml</c:v>
                </c:pt>
                <c:pt idx="19">
                  <c:v>Edgewell Hawaiian Tropic Carrot Tanning Adults Cosmetics Crema 10 - 14 240Ml</c:v>
                </c:pt>
                <c:pt idx="20">
                  <c:v>Edgewell Hawaiian Tropic Island Sport Sunscreen Adults Sport Liquido 50 60Ml</c:v>
                </c:pt>
                <c:pt idx="21">
                  <c:v>Edgewell Hawaiian Tropic Other Sunscreen Adults Cosmetics Crema 50+ 240Ml</c:v>
                </c:pt>
                <c:pt idx="22">
                  <c:v>Edgewell Hawaiian Tropic Ozono Sunscreen Adults Cosmetics Liquido 50+ 120Ml</c:v>
                </c:pt>
                <c:pt idx="23">
                  <c:v>Edgewell Hawaiian Tropic Ozono Sunscreen Adults Cosmetics Liquido 50+ 180Ml</c:v>
                </c:pt>
                <c:pt idx="24">
                  <c:v>Edgewell Hawaiian Tropic Ozono Sunscreen Adults Cosmetics Liquido 50+ 240Ml</c:v>
                </c:pt>
                <c:pt idx="25">
                  <c:v>Edgewell Hawaiian Tropic Ozono Sunscreen Adults Cosmetics Liquido 50+ 90Ml</c:v>
                </c:pt>
                <c:pt idx="26">
                  <c:v>Edgewell Hawaiian Tropic Ozono Sunscreen Adults Cosmetics Spray Liquido 50+ 180Ml</c:v>
                </c:pt>
                <c:pt idx="27">
                  <c:v>Edgewell Hawaiian Tropic Sheer Touch Sunscreen Adults Cosmetics Crema 30 - 49 240Ml</c:v>
                </c:pt>
                <c:pt idx="28">
                  <c:v>Edgewell Hawaiian Tropic Sheer Touch Sunscreen Adults Cosmetics Crema 50 120Ml</c:v>
                </c:pt>
                <c:pt idx="29">
                  <c:v>Edgewell Hawaiian Tropic Sheer Touch Sunscreen Adults Cosmetics Liquido 30 - 49 60Ml</c:v>
                </c:pt>
                <c:pt idx="30">
                  <c:v>Edgewell Hawaiian Tropic Tanning Sunscreen Adults Cosmetics Spray Liquido 15 - 19 220Ml</c:v>
                </c:pt>
              </c:strCache>
            </c:strRef>
          </c:cat>
          <c:val>
            <c:numRef>
              <c:f>Sheet1!$B$2:$B$32</c:f>
              <c:numCache>
                <c:formatCode>General</c:formatCode>
                <c:ptCount val="31"/>
                <c:pt idx="0">
                  <c:v>310.0</c:v>
                </c:pt>
                <c:pt idx="1">
                  <c:v>105.0</c:v>
                </c:pt>
                <c:pt idx="2">
                  <c:v>305.0</c:v>
                </c:pt>
                <c:pt idx="3">
                  <c:v>349.0</c:v>
                </c:pt>
                <c:pt idx="4">
                  <c:v>305.0</c:v>
                </c:pt>
                <c:pt idx="5">
                  <c:v>364.0</c:v>
                </c:pt>
                <c:pt idx="6">
                  <c:v>305.0</c:v>
                </c:pt>
                <c:pt idx="7">
                  <c:v>335.0</c:v>
                </c:pt>
                <c:pt idx="8">
                  <c:v>385.0</c:v>
                </c:pt>
                <c:pt idx="9">
                  <c:v>305.0</c:v>
                </c:pt>
                <c:pt idx="10">
                  <c:v>310.0</c:v>
                </c:pt>
                <c:pt idx="11">
                  <c:v>249.0</c:v>
                </c:pt>
                <c:pt idx="12">
                  <c:v>242.0</c:v>
                </c:pt>
                <c:pt idx="13">
                  <c:v>279.0</c:v>
                </c:pt>
                <c:pt idx="14">
                  <c:v>215.0</c:v>
                </c:pt>
                <c:pt idx="15">
                  <c:v>179.0</c:v>
                </c:pt>
                <c:pt idx="16">
                  <c:v>179.0</c:v>
                </c:pt>
                <c:pt idx="17">
                  <c:v>179.0</c:v>
                </c:pt>
                <c:pt idx="18">
                  <c:v>299.0</c:v>
                </c:pt>
                <c:pt idx="19">
                  <c:v>299.0</c:v>
                </c:pt>
                <c:pt idx="20">
                  <c:v>105.0</c:v>
                </c:pt>
                <c:pt idx="21">
                  <c:v>350.0</c:v>
                </c:pt>
                <c:pt idx="22">
                  <c:v>205.0</c:v>
                </c:pt>
                <c:pt idx="23">
                  <c:v>350.0</c:v>
                </c:pt>
                <c:pt idx="24">
                  <c:v>350.0</c:v>
                </c:pt>
                <c:pt idx="25">
                  <c:v>125.0</c:v>
                </c:pt>
                <c:pt idx="26">
                  <c:v>385.0</c:v>
                </c:pt>
                <c:pt idx="27">
                  <c:v>299.0</c:v>
                </c:pt>
                <c:pt idx="28">
                  <c:v>205.0</c:v>
                </c:pt>
                <c:pt idx="29">
                  <c:v>105.0</c:v>
                </c:pt>
                <c:pt idx="3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76.25</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79.0</a:t>
                    </a:r>
                  </a:p>
                </c:rich>
              </c:tx>
              <c:showLegendKey val="0"/>
              <c:showVal val="1"/>
              <c:showCatName val="0"/>
              <c:showSerName val="0"/>
              <c:showPercent val="0"/>
              <c:showBubbleSize val="0"/>
            </c:dLbl>
            <c:dLbl>
              <c:idx val="14"/>
              <c:tx>
                <c:rich>
                  <a:bodyPr/>
                  <a:lstStyle/>
                  <a:p>
                    <a:r>
                      <a:t>215.0</a:t>
                    </a:r>
                  </a:p>
                </c:rich>
              </c:tx>
              <c:showLegendKey val="0"/>
              <c:showVal val="1"/>
              <c:showCatName val="0"/>
              <c:showSerName val="0"/>
              <c:showPercent val="0"/>
              <c:showBubbleSize val="0"/>
            </c:dLbl>
            <c:dLbl>
              <c:idx val="15"/>
              <c:tx>
                <c:rich>
                  <a:bodyPr/>
                  <a:lstStyle/>
                  <a:p>
                    <a:r>
                      <a:t>240.0</a:t>
                    </a:r>
                  </a:p>
                </c:rich>
              </c:tx>
              <c:showLegendKey val="0"/>
              <c:showVal val="1"/>
              <c:showCatName val="0"/>
              <c:showSerName val="0"/>
              <c:showPercent val="0"/>
              <c:showBubbleSize val="0"/>
            </c:dLbl>
            <c:dLbl>
              <c:idx val="16"/>
              <c:tx>
                <c:rich>
                  <a:bodyPr/>
                  <a:lstStyle/>
                  <a:p>
                    <a:r>
                      <a:t>179.0</a:t>
                    </a:r>
                  </a:p>
                </c:rich>
              </c:tx>
              <c:showLegendKey val="0"/>
              <c:showVal val="1"/>
              <c:showCatName val="0"/>
              <c:showSerName val="0"/>
              <c:showPercent val="0"/>
              <c:showBubbleSize val="0"/>
            </c:dLbl>
            <c:dLbl>
              <c:idx val="17"/>
              <c:tx>
                <c:rich>
                  <a:bodyPr/>
                  <a:lstStyle/>
                  <a:p>
                    <a:r>
                      <a:t>179.0</a:t>
                    </a:r>
                  </a:p>
                </c:rich>
              </c:tx>
              <c:showLegendKey val="0"/>
              <c:showVal val="1"/>
              <c:showCatName val="0"/>
              <c:showSerName val="0"/>
              <c:showPercent val="0"/>
              <c:showBubbleSize val="0"/>
            </c:dLbl>
            <c:dLbl>
              <c:idx val="18"/>
              <c:tx>
                <c:rich>
                  <a:bodyPr/>
                  <a:lstStyle/>
                  <a:p>
                    <a:r>
                      <a:t>179.0</a:t>
                    </a:r>
                  </a:p>
                </c:rich>
              </c:tx>
              <c:showLegendKey val="0"/>
              <c:showVal val="1"/>
              <c:showCatName val="0"/>
              <c:showSerName val="0"/>
              <c:showPercent val="0"/>
              <c:showBubbleSize val="0"/>
            </c:dLbl>
            <c:dLbl>
              <c:idx val="19"/>
              <c:tx>
                <c:rich>
                  <a:bodyPr/>
                  <a:lstStyle/>
                  <a:p>
                    <a:r>
                      <a:t>299.0</a:t>
                    </a:r>
                  </a:p>
                </c:rich>
              </c:tx>
              <c:showLegendKey val="0"/>
              <c:showVal val="1"/>
              <c:showCatName val="0"/>
              <c:showSerName val="0"/>
              <c:showPercent val="0"/>
              <c:showBubbleSize val="0"/>
            </c:dLbl>
            <c:dLbl>
              <c:idx val="20"/>
              <c:tx>
                <c:rich>
                  <a:bodyPr/>
                  <a:lstStyle/>
                  <a:p>
                    <a:r>
                      <a:t>299.0</a:t>
                    </a:r>
                  </a:p>
                </c:rich>
              </c:tx>
              <c:showLegendKey val="0"/>
              <c:showVal val="1"/>
              <c:showCatName val="0"/>
              <c:showSerName val="0"/>
              <c:showPercent val="0"/>
              <c:showBubbleSize val="0"/>
            </c:dLbl>
            <c:dLbl>
              <c:idx val="21"/>
              <c:tx>
                <c:rich>
                  <a:bodyPr/>
                  <a:lstStyle/>
                  <a:p>
                    <a:r>
                      <a:t>105.0</a:t>
                    </a:r>
                  </a:p>
                </c:rich>
              </c:tx>
              <c:showLegendKey val="0"/>
              <c:showVal val="1"/>
              <c:showCatName val="0"/>
              <c:showSerName val="0"/>
              <c:showPercent val="0"/>
              <c:showBubbleSize val="0"/>
            </c:dLbl>
            <c:dLbl>
              <c:idx val="22"/>
              <c:tx>
                <c:rich>
                  <a:bodyPr/>
                  <a:lstStyle/>
                  <a:p>
                    <a:r>
                      <a:t>350.0</a:t>
                    </a:r>
                  </a:p>
                </c:rich>
              </c:tx>
              <c:showLegendKey val="0"/>
              <c:showVal val="1"/>
              <c:showCatName val="0"/>
              <c:showSerName val="0"/>
              <c:showPercent val="0"/>
              <c:showBubbleSize val="0"/>
            </c:dLbl>
            <c:dLbl>
              <c:idx val="23"/>
              <c:tx>
                <c:rich>
                  <a:bodyPr/>
                  <a:lstStyle/>
                  <a:p>
                    <a:r>
                      <a:t>205.0</a:t>
                    </a:r>
                  </a:p>
                </c:rich>
              </c:tx>
              <c:showLegendKey val="0"/>
              <c:showVal val="1"/>
              <c:showCatName val="0"/>
              <c:showSerName val="0"/>
              <c:showPercent val="0"/>
              <c:showBubbleSize val="0"/>
            </c:dLbl>
            <c:dLbl>
              <c:idx val="24"/>
              <c:tx>
                <c:rich>
                  <a:bodyPr/>
                  <a:lstStyle/>
                  <a:p>
                    <a:r>
                      <a:t>350.0</a:t>
                    </a:r>
                  </a:p>
                </c:rich>
              </c:tx>
              <c:showLegendKey val="0"/>
              <c:showVal val="1"/>
              <c:showCatName val="0"/>
              <c:showSerName val="0"/>
              <c:showPercent val="0"/>
              <c:showBubbleSize val="0"/>
            </c:dLbl>
            <c:dLbl>
              <c:idx val="25"/>
              <c:tx>
                <c:rich>
                  <a:bodyPr/>
                  <a:lstStyle/>
                  <a:p>
                    <a:r>
                      <a:t>350.0</a:t>
                    </a:r>
                  </a:p>
                </c:rich>
              </c:tx>
              <c:showLegendKey val="0"/>
              <c:showVal val="1"/>
              <c:showCatName val="0"/>
              <c:showSerName val="0"/>
              <c:showPercent val="0"/>
              <c:showBubbleSize val="0"/>
            </c:dLbl>
            <c:dLbl>
              <c:idx val="26"/>
              <c:tx>
                <c:rich>
                  <a:bodyPr/>
                  <a:lstStyle/>
                  <a:p>
                    <a:r>
                      <a:t>125.0</a:t>
                    </a:r>
                  </a:p>
                </c:rich>
              </c:tx>
              <c:showLegendKey val="0"/>
              <c:showVal val="1"/>
              <c:showCatName val="0"/>
              <c:showSerName val="0"/>
              <c:showPercent val="0"/>
              <c:showBubbleSize val="0"/>
            </c:dLbl>
            <c:dLbl>
              <c:idx val="27"/>
              <c:tx>
                <c:rich>
                  <a:bodyPr/>
                  <a:lstStyle/>
                  <a:p>
                    <a:r>
                      <a:t>385.0</a:t>
                    </a:r>
                  </a:p>
                </c:rich>
              </c:tx>
              <c:showLegendKey val="0"/>
              <c:showVal val="1"/>
              <c:showCatName val="0"/>
              <c:showSerName val="0"/>
              <c:showPercent val="0"/>
              <c:showBubbleSize val="0"/>
            </c:dLbl>
            <c:dLbl>
              <c:idx val="28"/>
              <c:tx>
                <c:rich>
                  <a:bodyPr/>
                  <a:lstStyle/>
                  <a:p>
                    <a:r>
                      <a:t>299.0</a:t>
                    </a:r>
                  </a:p>
                </c:rich>
              </c:tx>
              <c:showLegendKey val="0"/>
              <c:showVal val="1"/>
              <c:showCatName val="0"/>
              <c:showSerName val="0"/>
              <c:showPercent val="0"/>
              <c:showBubbleSize val="0"/>
            </c:dLbl>
            <c:dLbl>
              <c:idx val="29"/>
              <c:tx>
                <c:rich>
                  <a:bodyPr/>
                  <a:lstStyle/>
                  <a:p>
                    <a:r>
                      <a:t>205.0</a:t>
                    </a:r>
                  </a:p>
                </c:rich>
              </c:tx>
              <c:showLegendKey val="0"/>
              <c:showVal val="1"/>
              <c:showCatName val="0"/>
              <c:showSerName val="0"/>
              <c:showPercent val="0"/>
              <c:showBubbleSize val="0"/>
            </c:dLbl>
            <c:dLbl>
              <c:idx val="30"/>
              <c:tx>
                <c:rich>
                  <a:bodyPr/>
                  <a:lstStyle/>
                  <a:p>
                    <a:r>
                      <a:t>105.0</a:t>
                    </a:r>
                  </a:p>
                </c:rich>
              </c:tx>
              <c:showLegendKey val="0"/>
              <c:showVal val="1"/>
              <c:showCatName val="0"/>
              <c:showSerName val="0"/>
              <c:showPercent val="0"/>
              <c:showBubbleSize val="0"/>
            </c:dLbl>
            <c:dLbl>
              <c:idx val="31"/>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3</c:f>
              <c:strCache>
                <c:ptCount val="32"/>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Tanning Tanning Adults Cosmetics Spray Aceite 0 - 5 237Ml</c:v>
                </c:pt>
                <c:pt idx="14">
                  <c:v>Edgewell Banana Boat Ultra Sunscreen Adults Sport Roll-On 60+ 75Ml</c:v>
                </c:pt>
                <c:pt idx="15">
                  <c:v>Edgewell Beauty Care Antioxidant Sunscreen Adults Cosmetics Liquido 15 - 19 100Ml</c:v>
                </c:pt>
                <c:pt idx="16">
                  <c:v>Edgewell Beauty Care Antioxidant Sunscreen Adults Cosmetics Liquido 50+ 50Ml</c:v>
                </c:pt>
                <c:pt idx="17">
                  <c:v>Edgewell Beauty Care Matte Sunscreen Adults Cosmetics Liquido 30 50Ml</c:v>
                </c:pt>
                <c:pt idx="18">
                  <c:v>Edgewell Beauty Care Sensitive Sunscreen Adults Cosmetics Liquido 50+ 50Ml</c:v>
                </c:pt>
                <c:pt idx="19">
                  <c:v>Edgewell Hawaiian Tropic After Sun After Sun Adults Cosmetics Gel 0 - 5 240Ml</c:v>
                </c:pt>
                <c:pt idx="20">
                  <c:v>Edgewell Hawaiian Tropic Carrot Tanning Adults Cosmetics Crema 10 - 14 240Ml</c:v>
                </c:pt>
                <c:pt idx="21">
                  <c:v>Edgewell Hawaiian Tropic Island Sport Sunscreen Adults Sport Liquido 50 60Ml</c:v>
                </c:pt>
                <c:pt idx="22">
                  <c:v>Edgewell Hawaiian Tropic Other Sunscreen Adults Cosmetics Crema 50+ 240Ml</c:v>
                </c:pt>
                <c:pt idx="23">
                  <c:v>Edgewell Hawaiian Tropic Ozono Sunscreen Adults Cosmetics Liquido 50+ 120Ml</c:v>
                </c:pt>
                <c:pt idx="24">
                  <c:v>Edgewell Hawaiian Tropic Ozono Sunscreen Adults Cosmetics Liquido 50+ 180Ml</c:v>
                </c:pt>
                <c:pt idx="25">
                  <c:v>Edgewell Hawaiian Tropic Ozono Sunscreen Adults Cosmetics Liquido 50+ 240Ml</c:v>
                </c:pt>
                <c:pt idx="26">
                  <c:v>Edgewell Hawaiian Tropic Ozono Sunscreen Adults Cosmetics Liquido 50+ 90Ml</c:v>
                </c:pt>
                <c:pt idx="27">
                  <c:v>Edgewell Hawaiian Tropic Ozono Sunscreen Adults Cosmetics Spray Liquido 50+ 180Ml</c:v>
                </c:pt>
                <c:pt idx="28">
                  <c:v>Edgewell Hawaiian Tropic Sheer Touch Sunscreen Adults Cosmetics Crema 30 - 49 240Ml</c:v>
                </c:pt>
                <c:pt idx="29">
                  <c:v>Edgewell Hawaiian Tropic Sheer Touch Sunscreen Adults Cosmetics Crema 50 120Ml</c:v>
                </c:pt>
                <c:pt idx="30">
                  <c:v>Edgewell Hawaiian Tropic Sheer Touch Sunscreen Adults Cosmetics Liquido 30 - 49 60Ml</c:v>
                </c:pt>
                <c:pt idx="31">
                  <c:v>Edgewell Hawaiian Tropic Tanning Sunscreen Adults Cosmetics Spray Liquido 15 - 19 220Ml</c:v>
                </c:pt>
              </c:strCache>
            </c:strRef>
          </c:cat>
          <c:val>
            <c:numRef>
              <c:f>Sheet1!$B$2:$B$33</c:f>
              <c:numCache>
                <c:formatCode>General</c:formatCode>
                <c:ptCount val="32"/>
                <c:pt idx="0">
                  <c:v>310.0</c:v>
                </c:pt>
                <c:pt idx="1">
                  <c:v>105.0</c:v>
                </c:pt>
                <c:pt idx="2">
                  <c:v>305.0</c:v>
                </c:pt>
                <c:pt idx="3">
                  <c:v>349.0</c:v>
                </c:pt>
                <c:pt idx="4">
                  <c:v>305.0</c:v>
                </c:pt>
                <c:pt idx="5">
                  <c:v>376.25</c:v>
                </c:pt>
                <c:pt idx="6">
                  <c:v>305.0</c:v>
                </c:pt>
                <c:pt idx="7">
                  <c:v>335.0</c:v>
                </c:pt>
                <c:pt idx="8">
                  <c:v>385.0</c:v>
                </c:pt>
                <c:pt idx="9">
                  <c:v>305.0</c:v>
                </c:pt>
                <c:pt idx="10">
                  <c:v>310.0</c:v>
                </c:pt>
                <c:pt idx="11">
                  <c:v>249.0</c:v>
                </c:pt>
                <c:pt idx="12">
                  <c:v>242.0</c:v>
                </c:pt>
                <c:pt idx="13">
                  <c:v>279.0</c:v>
                </c:pt>
                <c:pt idx="14">
                  <c:v>215.0</c:v>
                </c:pt>
                <c:pt idx="15">
                  <c:v>240.0</c:v>
                </c:pt>
                <c:pt idx="16">
                  <c:v>179.0</c:v>
                </c:pt>
                <c:pt idx="17">
                  <c:v>179.0</c:v>
                </c:pt>
                <c:pt idx="18">
                  <c:v>179.0</c:v>
                </c:pt>
                <c:pt idx="19">
                  <c:v>299.0</c:v>
                </c:pt>
                <c:pt idx="20">
                  <c:v>299.0</c:v>
                </c:pt>
                <c:pt idx="21">
                  <c:v>105.0</c:v>
                </c:pt>
                <c:pt idx="22">
                  <c:v>350.0</c:v>
                </c:pt>
                <c:pt idx="23">
                  <c:v>205.0</c:v>
                </c:pt>
                <c:pt idx="24">
                  <c:v>350.0</c:v>
                </c:pt>
                <c:pt idx="25">
                  <c:v>350.0</c:v>
                </c:pt>
                <c:pt idx="26">
                  <c:v>125.0</c:v>
                </c:pt>
                <c:pt idx="27">
                  <c:v>385.0</c:v>
                </c:pt>
                <c:pt idx="28">
                  <c:v>299.0</c:v>
                </c:pt>
                <c:pt idx="29">
                  <c:v>205.0</c:v>
                </c:pt>
                <c:pt idx="30">
                  <c:v>105.0</c:v>
                </c:pt>
                <c:pt idx="31">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7.5</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dLbl>
              <c:idx val="12"/>
              <c:tx>
                <c:rich>
                  <a:bodyPr/>
                  <a:lstStyle/>
                  <a:p>
                    <a:r>
                      <a:t>279.0</a:t>
                    </a:r>
                  </a:p>
                </c:rich>
              </c:tx>
              <c:showLegendKey val="0"/>
              <c:showVal val="1"/>
              <c:showCatName val="0"/>
              <c:showSerName val="0"/>
              <c:showPercent val="0"/>
              <c:showBubbleSize val="0"/>
            </c:dLbl>
            <c:dLbl>
              <c:idx val="13"/>
              <c:tx>
                <c:rich>
                  <a:bodyPr/>
                  <a:lstStyle/>
                  <a:p>
                    <a:r>
                      <a:t>179.0</a:t>
                    </a:r>
                  </a:p>
                </c:rich>
              </c:tx>
              <c:showLegendKey val="0"/>
              <c:showVal val="1"/>
              <c:showCatName val="0"/>
              <c:showSerName val="0"/>
              <c:showPercent val="0"/>
              <c:showBubbleSize val="0"/>
            </c:dLbl>
            <c:dLbl>
              <c:idx val="14"/>
              <c:tx>
                <c:rich>
                  <a:bodyPr/>
                  <a:lstStyle/>
                  <a:p>
                    <a:r>
                      <a:t>179.0</a:t>
                    </a:r>
                  </a:p>
                </c:rich>
              </c:tx>
              <c:showLegendKey val="0"/>
              <c:showVal val="1"/>
              <c:showCatName val="0"/>
              <c:showSerName val="0"/>
              <c:showPercent val="0"/>
              <c:showBubbleSize val="0"/>
            </c:dLbl>
            <c:dLbl>
              <c:idx val="15"/>
              <c:tx>
                <c:rich>
                  <a:bodyPr/>
                  <a:lstStyle/>
                  <a:p>
                    <a:r>
                      <a:t>179.0</a:t>
                    </a:r>
                  </a:p>
                </c:rich>
              </c:tx>
              <c:showLegendKey val="0"/>
              <c:showVal val="1"/>
              <c:showCatName val="0"/>
              <c:showSerName val="0"/>
              <c:showPercent val="0"/>
              <c:showBubbleSize val="0"/>
            </c:dLbl>
            <c:dLbl>
              <c:idx val="16"/>
              <c:tx>
                <c:rich>
                  <a:bodyPr/>
                  <a:lstStyle/>
                  <a:p>
                    <a:r>
                      <a:t>299.0</a:t>
                    </a:r>
                  </a:p>
                </c:rich>
              </c:tx>
              <c:showLegendKey val="0"/>
              <c:showVal val="1"/>
              <c:showCatName val="0"/>
              <c:showSerName val="0"/>
              <c:showPercent val="0"/>
              <c:showBubbleSize val="0"/>
            </c:dLbl>
            <c:dLbl>
              <c:idx val="17"/>
              <c:tx>
                <c:rich>
                  <a:bodyPr/>
                  <a:lstStyle/>
                  <a:p>
                    <a:r>
                      <a:t>299.0</a:t>
                    </a:r>
                  </a:p>
                </c:rich>
              </c:tx>
              <c:showLegendKey val="0"/>
              <c:showVal val="1"/>
              <c:showCatName val="0"/>
              <c:showSerName val="0"/>
              <c:showPercent val="0"/>
              <c:showBubbleSize val="0"/>
            </c:dLbl>
            <c:dLbl>
              <c:idx val="18"/>
              <c:tx>
                <c:rich>
                  <a:bodyPr/>
                  <a:lstStyle/>
                  <a:p>
                    <a:r>
                      <a:t>105.0</a:t>
                    </a:r>
                  </a:p>
                </c:rich>
              </c:tx>
              <c:showLegendKey val="0"/>
              <c:showVal val="1"/>
              <c:showCatName val="0"/>
              <c:showSerName val="0"/>
              <c:showPercent val="0"/>
              <c:showBubbleSize val="0"/>
            </c:dLbl>
            <c:dLbl>
              <c:idx val="19"/>
              <c:tx>
                <c:rich>
                  <a:bodyPr/>
                  <a:lstStyle/>
                  <a:p>
                    <a:r>
                      <a:t>350.0</a:t>
                    </a:r>
                  </a:p>
                </c:rich>
              </c:tx>
              <c:showLegendKey val="0"/>
              <c:showVal val="1"/>
              <c:showCatName val="0"/>
              <c:showSerName val="0"/>
              <c:showPercent val="0"/>
              <c:showBubbleSize val="0"/>
            </c:dLbl>
            <c:dLbl>
              <c:idx val="20"/>
              <c:tx>
                <c:rich>
                  <a:bodyPr/>
                  <a:lstStyle/>
                  <a:p>
                    <a:r>
                      <a:t>205.0</a:t>
                    </a:r>
                  </a:p>
                </c:rich>
              </c:tx>
              <c:showLegendKey val="0"/>
              <c:showVal val="1"/>
              <c:showCatName val="0"/>
              <c:showSerName val="0"/>
              <c:showPercent val="0"/>
              <c:showBubbleSize val="0"/>
            </c:dLbl>
            <c:dLbl>
              <c:idx val="21"/>
              <c:tx>
                <c:rich>
                  <a:bodyPr/>
                  <a:lstStyle/>
                  <a:p>
                    <a:r>
                      <a:t>350.0</a:t>
                    </a:r>
                  </a:p>
                </c:rich>
              </c:tx>
              <c:showLegendKey val="0"/>
              <c:showVal val="1"/>
              <c:showCatName val="0"/>
              <c:showSerName val="0"/>
              <c:showPercent val="0"/>
              <c:showBubbleSize val="0"/>
            </c:dLbl>
            <c:dLbl>
              <c:idx val="22"/>
              <c:tx>
                <c:rich>
                  <a:bodyPr/>
                  <a:lstStyle/>
                  <a:p>
                    <a:r>
                      <a:t>125.0</a:t>
                    </a:r>
                  </a:p>
                </c:rich>
              </c:tx>
              <c:showLegendKey val="0"/>
              <c:showVal val="1"/>
              <c:showCatName val="0"/>
              <c:showSerName val="0"/>
              <c:showPercent val="0"/>
              <c:showBubbleSize val="0"/>
            </c:dLbl>
            <c:dLbl>
              <c:idx val="23"/>
              <c:tx>
                <c:rich>
                  <a:bodyPr/>
                  <a:lstStyle/>
                  <a:p>
                    <a:r>
                      <a:t>385.0</a:t>
                    </a:r>
                  </a:p>
                </c:rich>
              </c:tx>
              <c:showLegendKey val="0"/>
              <c:showVal val="1"/>
              <c:showCatName val="0"/>
              <c:showSerName val="0"/>
              <c:showPercent val="0"/>
              <c:showBubbleSize val="0"/>
            </c:dLbl>
            <c:dLbl>
              <c:idx val="24"/>
              <c:tx>
                <c:rich>
                  <a:bodyPr/>
                  <a:lstStyle/>
                  <a:p>
                    <a:r>
                      <a:t>299.0</a:t>
                    </a:r>
                  </a:p>
                </c:rich>
              </c:tx>
              <c:showLegendKey val="0"/>
              <c:showVal val="1"/>
              <c:showCatName val="0"/>
              <c:showSerName val="0"/>
              <c:showPercent val="0"/>
              <c:showBubbleSize val="0"/>
            </c:dLbl>
            <c:dLbl>
              <c:idx val="25"/>
              <c:tx>
                <c:rich>
                  <a:bodyPr/>
                  <a:lstStyle/>
                  <a:p>
                    <a:r>
                      <a:t>205.0</a:t>
                    </a:r>
                  </a:p>
                </c:rich>
              </c:tx>
              <c:showLegendKey val="0"/>
              <c:showVal val="1"/>
              <c:showCatName val="0"/>
              <c:showSerName val="0"/>
              <c:showPercent val="0"/>
              <c:showBubbleSize val="0"/>
            </c:dLbl>
            <c:dLbl>
              <c:idx val="26"/>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Kids Cosmetics Locion 50 180Ml</c:v>
                </c:pt>
                <c:pt idx="12">
                  <c:v>Edgewell Banana Boat Tanning Tanning Adults Cosmetics Spray Aceite 0 - 5 237Ml</c:v>
                </c:pt>
                <c:pt idx="13">
                  <c:v>Edgewell Beauty Care Antioxidant Sunscreen Adults Cosmetics Liquido 50+ 50Ml</c:v>
                </c:pt>
                <c:pt idx="14">
                  <c:v>Edgewell Beauty Care Matte Sunscreen Adults Cosmetics Liquido 30 50Ml</c:v>
                </c:pt>
                <c:pt idx="15">
                  <c:v>Edgewell Beauty Care Sensitive Sunscreen Adults Cosmetics Liquido 50+ 50Ml</c:v>
                </c:pt>
                <c:pt idx="16">
                  <c:v>Edgewell Hawaiian Tropic After Sun After Sun Adults Cosmetics Gel 0 - 5 240Ml</c:v>
                </c:pt>
                <c:pt idx="17">
                  <c:v>Edgewell Hawaiian Tropic Carrot Tanning Adults Cosmetics Crema 10 - 14 240Ml</c:v>
                </c:pt>
                <c:pt idx="18">
                  <c:v>Edgewell Hawaiian Tropic Island Sport Sunscreen Adults Sport Liquido 50 60Ml</c:v>
                </c:pt>
                <c:pt idx="19">
                  <c:v>Edgewell Hawaiian Tropic Other Sunscreen Adults Cosmetics Crema 50+ 240Ml</c:v>
                </c:pt>
                <c:pt idx="20">
                  <c:v>Edgewell Hawaiian Tropic Ozono Sunscreen Adults Cosmetics Liquido 50+ 120Ml</c:v>
                </c:pt>
                <c:pt idx="21">
                  <c:v>Edgewell Hawaiian Tropic Ozono Sunscreen Adults Cosmetics Liquido 50+ 240Ml</c:v>
                </c:pt>
                <c:pt idx="22">
                  <c:v>Edgewell Hawaiian Tropic Ozono Sunscreen Adults Cosmetics Liquido 50+ 90Ml</c:v>
                </c:pt>
                <c:pt idx="23">
                  <c:v>Edgewell Hawaiian Tropic Ozono Sunscreen Adults Cosmetics Spray Liquido 50+ 180Ml</c:v>
                </c:pt>
                <c:pt idx="24">
                  <c:v>Edgewell Hawaiian Tropic Sheer Touch Sunscreen Adults Cosmetics Crema 30 - 49 240Ml</c:v>
                </c:pt>
                <c:pt idx="25">
                  <c:v>Edgewell Hawaiian Tropic Sheer Touch Sunscreen Adults Cosmetics Crema 50 120Ml</c:v>
                </c:pt>
                <c:pt idx="26">
                  <c:v>Edgewell Hawaiian Tropic Sheer Touch Sunscreen Adults Cosmetics Liquido 30 - 49 60Ml</c:v>
                </c:pt>
              </c:strCache>
            </c:strRef>
          </c:cat>
          <c:val>
            <c:numRef>
              <c:f>Sheet1!$B$2:$B$28</c:f>
              <c:numCache>
                <c:formatCode>General</c:formatCode>
                <c:ptCount val="27"/>
                <c:pt idx="0">
                  <c:v>310.0</c:v>
                </c:pt>
                <c:pt idx="1">
                  <c:v>105.0</c:v>
                </c:pt>
                <c:pt idx="2">
                  <c:v>305.0</c:v>
                </c:pt>
                <c:pt idx="3">
                  <c:v>349.0</c:v>
                </c:pt>
                <c:pt idx="4">
                  <c:v>305.0</c:v>
                </c:pt>
                <c:pt idx="5">
                  <c:v>367.5</c:v>
                </c:pt>
                <c:pt idx="6">
                  <c:v>305.0</c:v>
                </c:pt>
                <c:pt idx="7">
                  <c:v>335.0</c:v>
                </c:pt>
                <c:pt idx="8">
                  <c:v>385.0</c:v>
                </c:pt>
                <c:pt idx="9">
                  <c:v>305.0</c:v>
                </c:pt>
                <c:pt idx="10">
                  <c:v>310.0</c:v>
                </c:pt>
                <c:pt idx="11">
                  <c:v>242.0</c:v>
                </c:pt>
                <c:pt idx="12">
                  <c:v>279.0</c:v>
                </c:pt>
                <c:pt idx="13">
                  <c:v>179.0</c:v>
                </c:pt>
                <c:pt idx="14">
                  <c:v>179.0</c:v>
                </c:pt>
                <c:pt idx="15">
                  <c:v>179.0</c:v>
                </c:pt>
                <c:pt idx="16">
                  <c:v>299.0</c:v>
                </c:pt>
                <c:pt idx="17">
                  <c:v>299.0</c:v>
                </c:pt>
                <c:pt idx="18">
                  <c:v>105.0</c:v>
                </c:pt>
                <c:pt idx="19">
                  <c:v>350.0</c:v>
                </c:pt>
                <c:pt idx="20">
                  <c:v>205.0</c:v>
                </c:pt>
                <c:pt idx="21">
                  <c:v>350.0</c:v>
                </c:pt>
                <c:pt idx="22">
                  <c:v>125.0</c:v>
                </c:pt>
                <c:pt idx="23">
                  <c:v>385.0</c:v>
                </c:pt>
                <c:pt idx="24">
                  <c:v>299.0</c:v>
                </c:pt>
                <c:pt idx="25">
                  <c:v>205.0</c:v>
                </c:pt>
                <c:pt idx="26">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7.5</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335.0</a:t>
                    </a:r>
                  </a:p>
                </c:rich>
              </c:tx>
              <c:showLegendKey val="0"/>
              <c:showVal val="1"/>
              <c:showCatName val="0"/>
              <c:showSerName val="0"/>
              <c:showPercent val="0"/>
              <c:showBubbleSize val="0"/>
            </c:dLbl>
            <c:dLbl>
              <c:idx val="9"/>
              <c:tx>
                <c:rich>
                  <a:bodyPr/>
                  <a:lstStyle/>
                  <a:p>
                    <a:r>
                      <a:t>385.0</a:t>
                    </a:r>
                  </a:p>
                </c:rich>
              </c:tx>
              <c:showLegendKey val="0"/>
              <c:showVal val="1"/>
              <c:showCatName val="0"/>
              <c:showSerName val="0"/>
              <c:showPercent val="0"/>
              <c:showBubbleSize val="0"/>
            </c:dLbl>
            <c:dLbl>
              <c:idx val="10"/>
              <c:tx>
                <c:rich>
                  <a:bodyPr/>
                  <a:lstStyle/>
                  <a:p>
                    <a:r>
                      <a:t>305.0</a:t>
                    </a:r>
                  </a:p>
                </c:rich>
              </c:tx>
              <c:showLegendKey val="0"/>
              <c:showVal val="1"/>
              <c:showCatName val="0"/>
              <c:showSerName val="0"/>
              <c:showPercent val="0"/>
              <c:showBubbleSize val="0"/>
            </c:dLbl>
            <c:dLbl>
              <c:idx val="11"/>
              <c:tx>
                <c:rich>
                  <a:bodyPr/>
                  <a:lstStyle/>
                  <a:p>
                    <a:r>
                      <a:t>310.0</a:t>
                    </a:r>
                  </a:p>
                </c:rich>
              </c:tx>
              <c:showLegendKey val="0"/>
              <c:showVal val="1"/>
              <c:showCatName val="0"/>
              <c:showSerName val="0"/>
              <c:showPercent val="0"/>
              <c:showBubbleSize val="0"/>
            </c:dLbl>
            <c:dLbl>
              <c:idx val="12"/>
              <c:tx>
                <c:rich>
                  <a:bodyPr/>
                  <a:lstStyle/>
                  <a:p>
                    <a:r>
                      <a:t>249.0</a:t>
                    </a:r>
                  </a:p>
                </c:rich>
              </c:tx>
              <c:showLegendKey val="0"/>
              <c:showVal val="1"/>
              <c:showCatName val="0"/>
              <c:showSerName val="0"/>
              <c:showPercent val="0"/>
              <c:showBubbleSize val="0"/>
            </c:dLbl>
            <c:dLbl>
              <c:idx val="13"/>
              <c:tx>
                <c:rich>
                  <a:bodyPr/>
                  <a:lstStyle/>
                  <a:p>
                    <a:r>
                      <a:t>242.0</a:t>
                    </a:r>
                  </a:p>
                </c:rich>
              </c:tx>
              <c:showLegendKey val="0"/>
              <c:showVal val="1"/>
              <c:showCatName val="0"/>
              <c:showSerName val="0"/>
              <c:showPercent val="0"/>
              <c:showBubbleSize val="0"/>
            </c:dLbl>
            <c:dLbl>
              <c:idx val="14"/>
              <c:tx>
                <c:rich>
                  <a:bodyPr/>
                  <a:lstStyle/>
                  <a:p>
                    <a:r>
                      <a:t>279.0</a:t>
                    </a:r>
                  </a:p>
                </c:rich>
              </c:tx>
              <c:showLegendKey val="0"/>
              <c:showVal val="1"/>
              <c:showCatName val="0"/>
              <c:showSerName val="0"/>
              <c:showPercent val="0"/>
              <c:showBubbleSize val="0"/>
            </c:dLbl>
            <c:dLbl>
              <c:idx val="15"/>
              <c:tx>
                <c:rich>
                  <a:bodyPr/>
                  <a:lstStyle/>
                  <a:p>
                    <a:r>
                      <a:t>215.0</a:t>
                    </a:r>
                  </a:p>
                </c:rich>
              </c:tx>
              <c:showLegendKey val="0"/>
              <c:showVal val="1"/>
              <c:showCatName val="0"/>
              <c:showSerName val="0"/>
              <c:showPercent val="0"/>
              <c:showBubbleSize val="0"/>
            </c:dLbl>
            <c:dLbl>
              <c:idx val="16"/>
              <c:tx>
                <c:rich>
                  <a:bodyPr/>
                  <a:lstStyle/>
                  <a:p>
                    <a:r>
                      <a:t>240.0</a:t>
                    </a:r>
                  </a:p>
                </c:rich>
              </c:tx>
              <c:showLegendKey val="0"/>
              <c:showVal val="1"/>
              <c:showCatName val="0"/>
              <c:showSerName val="0"/>
              <c:showPercent val="0"/>
              <c:showBubbleSize val="0"/>
            </c:dLbl>
            <c:dLbl>
              <c:idx val="17"/>
              <c:tx>
                <c:rich>
                  <a:bodyPr/>
                  <a:lstStyle/>
                  <a:p>
                    <a:r>
                      <a:t>179.0</a:t>
                    </a:r>
                  </a:p>
                </c:rich>
              </c:tx>
              <c:showLegendKey val="0"/>
              <c:showVal val="1"/>
              <c:showCatName val="0"/>
              <c:showSerName val="0"/>
              <c:showPercent val="0"/>
              <c:showBubbleSize val="0"/>
            </c:dLbl>
            <c:dLbl>
              <c:idx val="18"/>
              <c:tx>
                <c:rich>
                  <a:bodyPr/>
                  <a:lstStyle/>
                  <a:p>
                    <a:r>
                      <a:t>179.0</a:t>
                    </a:r>
                  </a:p>
                </c:rich>
              </c:tx>
              <c:showLegendKey val="0"/>
              <c:showVal val="1"/>
              <c:showCatName val="0"/>
              <c:showSerName val="0"/>
              <c:showPercent val="0"/>
              <c:showBubbleSize val="0"/>
            </c:dLbl>
            <c:dLbl>
              <c:idx val="19"/>
              <c:tx>
                <c:rich>
                  <a:bodyPr/>
                  <a:lstStyle/>
                  <a:p>
                    <a:r>
                      <a:t>179.0</a:t>
                    </a:r>
                  </a:p>
                </c:rich>
              </c:tx>
              <c:showLegendKey val="0"/>
              <c:showVal val="1"/>
              <c:showCatName val="0"/>
              <c:showSerName val="0"/>
              <c:showPercent val="0"/>
              <c:showBubbleSize val="0"/>
            </c:dLbl>
            <c:dLbl>
              <c:idx val="20"/>
              <c:tx>
                <c:rich>
                  <a:bodyPr/>
                  <a:lstStyle/>
                  <a:p>
                    <a:r>
                      <a:t>299.0</a:t>
                    </a:r>
                  </a:p>
                </c:rich>
              </c:tx>
              <c:showLegendKey val="0"/>
              <c:showVal val="1"/>
              <c:showCatName val="0"/>
              <c:showSerName val="0"/>
              <c:showPercent val="0"/>
              <c:showBubbleSize val="0"/>
            </c:dLbl>
            <c:dLbl>
              <c:idx val="21"/>
              <c:tx>
                <c:rich>
                  <a:bodyPr/>
                  <a:lstStyle/>
                  <a:p>
                    <a:r>
                      <a:t>299.0</a:t>
                    </a:r>
                  </a:p>
                </c:rich>
              </c:tx>
              <c:showLegendKey val="0"/>
              <c:showVal val="1"/>
              <c:showCatName val="0"/>
              <c:showSerName val="0"/>
              <c:showPercent val="0"/>
              <c:showBubbleSize val="0"/>
            </c:dLbl>
            <c:dLbl>
              <c:idx val="22"/>
              <c:tx>
                <c:rich>
                  <a:bodyPr/>
                  <a:lstStyle/>
                  <a:p>
                    <a:r>
                      <a:t>105.0</a:t>
                    </a:r>
                  </a:p>
                </c:rich>
              </c:tx>
              <c:showLegendKey val="0"/>
              <c:showVal val="1"/>
              <c:showCatName val="0"/>
              <c:showSerName val="0"/>
              <c:showPercent val="0"/>
              <c:showBubbleSize val="0"/>
            </c:dLbl>
            <c:dLbl>
              <c:idx val="23"/>
              <c:tx>
                <c:rich>
                  <a:bodyPr/>
                  <a:lstStyle/>
                  <a:p>
                    <a:r>
                      <a:t>350.0</a:t>
                    </a:r>
                  </a:p>
                </c:rich>
              </c:tx>
              <c:showLegendKey val="0"/>
              <c:showVal val="1"/>
              <c:showCatName val="0"/>
              <c:showSerName val="0"/>
              <c:showPercent val="0"/>
              <c:showBubbleSize val="0"/>
            </c:dLbl>
            <c:dLbl>
              <c:idx val="24"/>
              <c:tx>
                <c:rich>
                  <a:bodyPr/>
                  <a:lstStyle/>
                  <a:p>
                    <a:r>
                      <a:t>205.0</a:t>
                    </a:r>
                  </a:p>
                </c:rich>
              </c:tx>
              <c:showLegendKey val="0"/>
              <c:showVal val="1"/>
              <c:showCatName val="0"/>
              <c:showSerName val="0"/>
              <c:showPercent val="0"/>
              <c:showBubbleSize val="0"/>
            </c:dLbl>
            <c:dLbl>
              <c:idx val="25"/>
              <c:tx>
                <c:rich>
                  <a:bodyPr/>
                  <a:lstStyle/>
                  <a:p>
                    <a:r>
                      <a:t>350.0</a:t>
                    </a:r>
                  </a:p>
                </c:rich>
              </c:tx>
              <c:showLegendKey val="0"/>
              <c:showVal val="1"/>
              <c:showCatName val="0"/>
              <c:showSerName val="0"/>
              <c:showPercent val="0"/>
              <c:showBubbleSize val="0"/>
            </c:dLbl>
            <c:dLbl>
              <c:idx val="26"/>
              <c:tx>
                <c:rich>
                  <a:bodyPr/>
                  <a:lstStyle/>
                  <a:p>
                    <a:r>
                      <a:t>350.0</a:t>
                    </a:r>
                  </a:p>
                </c:rich>
              </c:tx>
              <c:showLegendKey val="0"/>
              <c:showVal val="1"/>
              <c:showCatName val="0"/>
              <c:showSerName val="0"/>
              <c:showPercent val="0"/>
              <c:showBubbleSize val="0"/>
            </c:dLbl>
            <c:dLbl>
              <c:idx val="27"/>
              <c:tx>
                <c:rich>
                  <a:bodyPr/>
                  <a:lstStyle/>
                  <a:p>
                    <a:r>
                      <a:t>125.0</a:t>
                    </a:r>
                  </a:p>
                </c:rich>
              </c:tx>
              <c:showLegendKey val="0"/>
              <c:showVal val="1"/>
              <c:showCatName val="0"/>
              <c:showSerName val="0"/>
              <c:showPercent val="0"/>
              <c:showBubbleSize val="0"/>
            </c:dLbl>
            <c:dLbl>
              <c:idx val="28"/>
              <c:tx>
                <c:rich>
                  <a:bodyPr/>
                  <a:lstStyle/>
                  <a:p>
                    <a:r>
                      <a:t>385.0</a:t>
                    </a:r>
                  </a:p>
                </c:rich>
              </c:tx>
              <c:showLegendKey val="0"/>
              <c:showVal val="1"/>
              <c:showCatName val="0"/>
              <c:showSerName val="0"/>
              <c:showPercent val="0"/>
              <c:showBubbleSize val="0"/>
            </c:dLbl>
            <c:dLbl>
              <c:idx val="29"/>
              <c:tx>
                <c:rich>
                  <a:bodyPr/>
                  <a:lstStyle/>
                  <a:p>
                    <a:r>
                      <a:t>299.0</a:t>
                    </a:r>
                  </a:p>
                </c:rich>
              </c:tx>
              <c:showLegendKey val="0"/>
              <c:showVal val="1"/>
              <c:showCatName val="0"/>
              <c:showSerName val="0"/>
              <c:showPercent val="0"/>
              <c:showBubbleSize val="0"/>
            </c:dLbl>
            <c:dLbl>
              <c:idx val="30"/>
              <c:tx>
                <c:rich>
                  <a:bodyPr/>
                  <a:lstStyle/>
                  <a:p>
                    <a:r>
                      <a:t>205.0</a:t>
                    </a:r>
                  </a:p>
                </c:rich>
              </c:tx>
              <c:showLegendKey val="0"/>
              <c:showVal val="1"/>
              <c:showCatName val="0"/>
              <c:showSerName val="0"/>
              <c:showPercent val="0"/>
              <c:showBubbleSize val="0"/>
            </c:dLbl>
            <c:dLbl>
              <c:idx val="31"/>
              <c:tx>
                <c:rich>
                  <a:bodyPr/>
                  <a:lstStyle/>
                  <a:p>
                    <a:r>
                      <a:t>105.0</a:t>
                    </a:r>
                  </a:p>
                </c:rich>
              </c:tx>
              <c:showLegendKey val="0"/>
              <c:showVal val="1"/>
              <c:showCatName val="0"/>
              <c:showSerName val="0"/>
              <c:showPercent val="0"/>
              <c:showBubbleSize val="0"/>
            </c:dLbl>
            <c:dLbl>
              <c:idx val="3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4</c:f>
              <c:strCache>
                <c:ptCount val="33"/>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Cosmetics Spray Crema 50+ 220Ml</c:v>
                </c:pt>
                <c:pt idx="8">
                  <c:v>Edgewell Banana Boat Dry Balance Sunscreen Adults Sport Crema 50+ 180Ml</c:v>
                </c:pt>
                <c:pt idx="9">
                  <c:v>Edgewell Banana Boat Dry Balance Sunscreen Adults Sport Spray Liquido 50 220Ml</c:v>
                </c:pt>
                <c:pt idx="10">
                  <c:v>Edgewell Banana Boat Kids Sport Sunscreen Kids Cosmetics Crema 50 180Ml</c:v>
                </c:pt>
                <c:pt idx="11">
                  <c:v>Edgewell Banana Boat Mineral Sunscreen Adults Cosmetics Locion 50 60Ml</c:v>
                </c:pt>
                <c:pt idx="12">
                  <c:v>Edgewell Banana Boat Mineral Sunscreen Adults Sport Locion 50 180Ml</c:v>
                </c:pt>
                <c:pt idx="13">
                  <c:v>Edgewell Banana Boat Mineral Sunscreen Kids Cosmetics Locion 50 180Ml</c:v>
                </c:pt>
                <c:pt idx="14">
                  <c:v>Edgewell Banana Boat Tanning Tanning Adults Cosmetics Spray Aceite 0 - 5 237Ml</c:v>
                </c:pt>
                <c:pt idx="15">
                  <c:v>Edgewell Banana Boat Ultra Sunscreen Adults Sport Roll-On 60+ 75Ml</c:v>
                </c:pt>
                <c:pt idx="16">
                  <c:v>Edgewell Beauty Care Antioxidant Sunscreen Adults Cosmetics Liquido 15 - 19 100Ml</c:v>
                </c:pt>
                <c:pt idx="17">
                  <c:v>Edgewell Beauty Care Antioxidant Sunscreen Adults Cosmetics Liquido 50+ 50Ml</c:v>
                </c:pt>
                <c:pt idx="18">
                  <c:v>Edgewell Beauty Care Matte Sunscreen Adults Cosmetics Liquido 30 50Ml</c:v>
                </c:pt>
                <c:pt idx="19">
                  <c:v>Edgewell Beauty Care Sensitive Sunscreen Adults Cosmetics Liquido 50+ 50Ml</c:v>
                </c:pt>
                <c:pt idx="20">
                  <c:v>Edgewell Hawaiian Tropic After Sun After Sun Adults Cosmetics Gel 0 - 5 240Ml</c:v>
                </c:pt>
                <c:pt idx="21">
                  <c:v>Edgewell Hawaiian Tropic Carrot Tanning Adults Cosmetics Crema 10 - 14 240Ml</c:v>
                </c:pt>
                <c:pt idx="22">
                  <c:v>Edgewell Hawaiian Tropic Island Sport Sunscreen Adults Sport Liquido 50 60Ml</c:v>
                </c:pt>
                <c:pt idx="23">
                  <c:v>Edgewell Hawaiian Tropic Other Sunscreen Adults Cosmetics Crema 50+ 240Ml</c:v>
                </c:pt>
                <c:pt idx="24">
                  <c:v>Edgewell Hawaiian Tropic Ozono Sunscreen Adults Cosmetics Liquido 50+ 120Ml</c:v>
                </c:pt>
                <c:pt idx="25">
                  <c:v>Edgewell Hawaiian Tropic Ozono Sunscreen Adults Cosmetics Liquido 50+ 180Ml</c:v>
                </c:pt>
                <c:pt idx="26">
                  <c:v>Edgewell Hawaiian Tropic Ozono Sunscreen Adults Cosmetics Liquido 50+ 240Ml</c:v>
                </c:pt>
                <c:pt idx="27">
                  <c:v>Edgewell Hawaiian Tropic Ozono Sunscreen Adults Cosmetics Liquido 50+ 90Ml</c:v>
                </c:pt>
                <c:pt idx="28">
                  <c:v>Edgewell Hawaiian Tropic Ozono Sunscreen Adults Cosmetics Spray Liquido 50+ 180Ml</c:v>
                </c:pt>
                <c:pt idx="29">
                  <c:v>Edgewell Hawaiian Tropic Sheer Touch Sunscreen Adults Cosmetics Crema 30 - 49 240Ml</c:v>
                </c:pt>
                <c:pt idx="30">
                  <c:v>Edgewell Hawaiian Tropic Sheer Touch Sunscreen Adults Cosmetics Crema 50 120Ml</c:v>
                </c:pt>
                <c:pt idx="31">
                  <c:v>Edgewell Hawaiian Tropic Sheer Touch Sunscreen Adults Cosmetics Liquido 30 - 49 60Ml</c:v>
                </c:pt>
                <c:pt idx="32">
                  <c:v>Edgewell Hawaiian Tropic Tanning Sunscreen Adults Cosmetics Spray Liquido 15 - 19 220Ml</c:v>
                </c:pt>
              </c:strCache>
            </c:strRef>
          </c:cat>
          <c:val>
            <c:numRef>
              <c:f>Sheet1!$B$2:$B$34</c:f>
              <c:numCache>
                <c:formatCode>General</c:formatCode>
                <c:ptCount val="33"/>
                <c:pt idx="0">
                  <c:v>310.0</c:v>
                </c:pt>
                <c:pt idx="1">
                  <c:v>105.0</c:v>
                </c:pt>
                <c:pt idx="2">
                  <c:v>305.0</c:v>
                </c:pt>
                <c:pt idx="3">
                  <c:v>349.0</c:v>
                </c:pt>
                <c:pt idx="4">
                  <c:v>305.0</c:v>
                </c:pt>
                <c:pt idx="5">
                  <c:v>367.5</c:v>
                </c:pt>
                <c:pt idx="6">
                  <c:v>305.0</c:v>
                </c:pt>
                <c:pt idx="7">
                  <c:v>249.0</c:v>
                </c:pt>
                <c:pt idx="8">
                  <c:v>335.0</c:v>
                </c:pt>
                <c:pt idx="9">
                  <c:v>385.0</c:v>
                </c:pt>
                <c:pt idx="10">
                  <c:v>305.0</c:v>
                </c:pt>
                <c:pt idx="11">
                  <c:v>310.0</c:v>
                </c:pt>
                <c:pt idx="12">
                  <c:v>249.0</c:v>
                </c:pt>
                <c:pt idx="13">
                  <c:v>242.0</c:v>
                </c:pt>
                <c:pt idx="14">
                  <c:v>279.0</c:v>
                </c:pt>
                <c:pt idx="15">
                  <c:v>215.0</c:v>
                </c:pt>
                <c:pt idx="16">
                  <c:v>240.0</c:v>
                </c:pt>
                <c:pt idx="17">
                  <c:v>179.0</c:v>
                </c:pt>
                <c:pt idx="18">
                  <c:v>179.0</c:v>
                </c:pt>
                <c:pt idx="19">
                  <c:v>179.0</c:v>
                </c:pt>
                <c:pt idx="20">
                  <c:v>299.0</c:v>
                </c:pt>
                <c:pt idx="21">
                  <c:v>299.0</c:v>
                </c:pt>
                <c:pt idx="22">
                  <c:v>105.0</c:v>
                </c:pt>
                <c:pt idx="23">
                  <c:v>350.0</c:v>
                </c:pt>
                <c:pt idx="24">
                  <c:v>205.0</c:v>
                </c:pt>
                <c:pt idx="25">
                  <c:v>350.0</c:v>
                </c:pt>
                <c:pt idx="26">
                  <c:v>350.0</c:v>
                </c:pt>
                <c:pt idx="27">
                  <c:v>125.0</c:v>
                </c:pt>
                <c:pt idx="28">
                  <c:v>385.0</c:v>
                </c:pt>
                <c:pt idx="29">
                  <c:v>299.0</c:v>
                </c:pt>
                <c:pt idx="30">
                  <c:v>205.0</c:v>
                </c:pt>
                <c:pt idx="31">
                  <c:v>105.0</c:v>
                </c:pt>
                <c:pt idx="3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7.5</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335.0</a:t>
                    </a:r>
                  </a:p>
                </c:rich>
              </c:tx>
              <c:showLegendKey val="0"/>
              <c:showVal val="1"/>
              <c:showCatName val="0"/>
              <c:showSerName val="0"/>
              <c:showPercent val="0"/>
              <c:showBubbleSize val="0"/>
            </c:dLbl>
            <c:dLbl>
              <c:idx val="9"/>
              <c:tx>
                <c:rich>
                  <a:bodyPr/>
                  <a:lstStyle/>
                  <a:p>
                    <a:r>
                      <a:t>385.0</a:t>
                    </a:r>
                  </a:p>
                </c:rich>
              </c:tx>
              <c:showLegendKey val="0"/>
              <c:showVal val="1"/>
              <c:showCatName val="0"/>
              <c:showSerName val="0"/>
              <c:showPercent val="0"/>
              <c:showBubbleSize val="0"/>
            </c:dLbl>
            <c:dLbl>
              <c:idx val="10"/>
              <c:tx>
                <c:rich>
                  <a:bodyPr/>
                  <a:lstStyle/>
                  <a:p>
                    <a:r>
                      <a:t>305.0</a:t>
                    </a:r>
                  </a:p>
                </c:rich>
              </c:tx>
              <c:showLegendKey val="0"/>
              <c:showVal val="1"/>
              <c:showCatName val="0"/>
              <c:showSerName val="0"/>
              <c:showPercent val="0"/>
              <c:showBubbleSize val="0"/>
            </c:dLbl>
            <c:dLbl>
              <c:idx val="11"/>
              <c:tx>
                <c:rich>
                  <a:bodyPr/>
                  <a:lstStyle/>
                  <a:p>
                    <a:r>
                      <a:t>310.0</a:t>
                    </a:r>
                  </a:p>
                </c:rich>
              </c:tx>
              <c:showLegendKey val="0"/>
              <c:showVal val="1"/>
              <c:showCatName val="0"/>
              <c:showSerName val="0"/>
              <c:showPercent val="0"/>
              <c:showBubbleSize val="0"/>
            </c:dLbl>
            <c:dLbl>
              <c:idx val="12"/>
              <c:tx>
                <c:rich>
                  <a:bodyPr/>
                  <a:lstStyle/>
                  <a:p>
                    <a:r>
                      <a:t>249.0</a:t>
                    </a:r>
                  </a:p>
                </c:rich>
              </c:tx>
              <c:showLegendKey val="0"/>
              <c:showVal val="1"/>
              <c:showCatName val="0"/>
              <c:showSerName val="0"/>
              <c:showPercent val="0"/>
              <c:showBubbleSize val="0"/>
            </c:dLbl>
            <c:dLbl>
              <c:idx val="13"/>
              <c:tx>
                <c:rich>
                  <a:bodyPr/>
                  <a:lstStyle/>
                  <a:p>
                    <a:r>
                      <a:t>242.0</a:t>
                    </a:r>
                  </a:p>
                </c:rich>
              </c:tx>
              <c:showLegendKey val="0"/>
              <c:showVal val="1"/>
              <c:showCatName val="0"/>
              <c:showSerName val="0"/>
              <c:showPercent val="0"/>
              <c:showBubbleSize val="0"/>
            </c:dLbl>
            <c:dLbl>
              <c:idx val="14"/>
              <c:tx>
                <c:rich>
                  <a:bodyPr/>
                  <a:lstStyle/>
                  <a:p>
                    <a:r>
                      <a:t>279.0</a:t>
                    </a:r>
                  </a:p>
                </c:rich>
              </c:tx>
              <c:showLegendKey val="0"/>
              <c:showVal val="1"/>
              <c:showCatName val="0"/>
              <c:showSerName val="0"/>
              <c:showPercent val="0"/>
              <c:showBubbleSize val="0"/>
            </c:dLbl>
            <c:dLbl>
              <c:idx val="15"/>
              <c:tx>
                <c:rich>
                  <a:bodyPr/>
                  <a:lstStyle/>
                  <a:p>
                    <a:r>
                      <a:t>215.0</a:t>
                    </a:r>
                  </a:p>
                </c:rich>
              </c:tx>
              <c:showLegendKey val="0"/>
              <c:showVal val="1"/>
              <c:showCatName val="0"/>
              <c:showSerName val="0"/>
              <c:showPercent val="0"/>
              <c:showBubbleSize val="0"/>
            </c:dLbl>
            <c:dLbl>
              <c:idx val="16"/>
              <c:tx>
                <c:rich>
                  <a:bodyPr/>
                  <a:lstStyle/>
                  <a:p>
                    <a:r>
                      <a:t>240.0</a:t>
                    </a:r>
                  </a:p>
                </c:rich>
              </c:tx>
              <c:showLegendKey val="0"/>
              <c:showVal val="1"/>
              <c:showCatName val="0"/>
              <c:showSerName val="0"/>
              <c:showPercent val="0"/>
              <c:showBubbleSize val="0"/>
            </c:dLbl>
            <c:dLbl>
              <c:idx val="17"/>
              <c:tx>
                <c:rich>
                  <a:bodyPr/>
                  <a:lstStyle/>
                  <a:p>
                    <a:r>
                      <a:t>179.0</a:t>
                    </a:r>
                  </a:p>
                </c:rich>
              </c:tx>
              <c:showLegendKey val="0"/>
              <c:showVal val="1"/>
              <c:showCatName val="0"/>
              <c:showSerName val="0"/>
              <c:showPercent val="0"/>
              <c:showBubbleSize val="0"/>
            </c:dLbl>
            <c:dLbl>
              <c:idx val="18"/>
              <c:tx>
                <c:rich>
                  <a:bodyPr/>
                  <a:lstStyle/>
                  <a:p>
                    <a:r>
                      <a:t>179.0</a:t>
                    </a:r>
                  </a:p>
                </c:rich>
              </c:tx>
              <c:showLegendKey val="0"/>
              <c:showVal val="1"/>
              <c:showCatName val="0"/>
              <c:showSerName val="0"/>
              <c:showPercent val="0"/>
              <c:showBubbleSize val="0"/>
            </c:dLbl>
            <c:dLbl>
              <c:idx val="19"/>
              <c:tx>
                <c:rich>
                  <a:bodyPr/>
                  <a:lstStyle/>
                  <a:p>
                    <a:r>
                      <a:t>179.0</a:t>
                    </a:r>
                  </a:p>
                </c:rich>
              </c:tx>
              <c:showLegendKey val="0"/>
              <c:showVal val="1"/>
              <c:showCatName val="0"/>
              <c:showSerName val="0"/>
              <c:showPercent val="0"/>
              <c:showBubbleSize val="0"/>
            </c:dLbl>
            <c:dLbl>
              <c:idx val="20"/>
              <c:tx>
                <c:rich>
                  <a:bodyPr/>
                  <a:lstStyle/>
                  <a:p>
                    <a:r>
                      <a:t>299.0</a:t>
                    </a:r>
                  </a:p>
                </c:rich>
              </c:tx>
              <c:showLegendKey val="0"/>
              <c:showVal val="1"/>
              <c:showCatName val="0"/>
              <c:showSerName val="0"/>
              <c:showPercent val="0"/>
              <c:showBubbleSize val="0"/>
            </c:dLbl>
            <c:dLbl>
              <c:idx val="21"/>
              <c:tx>
                <c:rich>
                  <a:bodyPr/>
                  <a:lstStyle/>
                  <a:p>
                    <a:r>
                      <a:t>299.0</a:t>
                    </a:r>
                  </a:p>
                </c:rich>
              </c:tx>
              <c:showLegendKey val="0"/>
              <c:showVal val="1"/>
              <c:showCatName val="0"/>
              <c:showSerName val="0"/>
              <c:showPercent val="0"/>
              <c:showBubbleSize val="0"/>
            </c:dLbl>
            <c:dLbl>
              <c:idx val="22"/>
              <c:tx>
                <c:rich>
                  <a:bodyPr/>
                  <a:lstStyle/>
                  <a:p>
                    <a:r>
                      <a:t>105.0</a:t>
                    </a:r>
                  </a:p>
                </c:rich>
              </c:tx>
              <c:showLegendKey val="0"/>
              <c:showVal val="1"/>
              <c:showCatName val="0"/>
              <c:showSerName val="0"/>
              <c:showPercent val="0"/>
              <c:showBubbleSize val="0"/>
            </c:dLbl>
            <c:dLbl>
              <c:idx val="23"/>
              <c:tx>
                <c:rich>
                  <a:bodyPr/>
                  <a:lstStyle/>
                  <a:p>
                    <a:r>
                      <a:t>350.0</a:t>
                    </a:r>
                  </a:p>
                </c:rich>
              </c:tx>
              <c:showLegendKey val="0"/>
              <c:showVal val="1"/>
              <c:showCatName val="0"/>
              <c:showSerName val="0"/>
              <c:showPercent val="0"/>
              <c:showBubbleSize val="0"/>
            </c:dLbl>
            <c:dLbl>
              <c:idx val="24"/>
              <c:tx>
                <c:rich>
                  <a:bodyPr/>
                  <a:lstStyle/>
                  <a:p>
                    <a:r>
                      <a:t>205.0</a:t>
                    </a:r>
                  </a:p>
                </c:rich>
              </c:tx>
              <c:showLegendKey val="0"/>
              <c:showVal val="1"/>
              <c:showCatName val="0"/>
              <c:showSerName val="0"/>
              <c:showPercent val="0"/>
              <c:showBubbleSize val="0"/>
            </c:dLbl>
            <c:dLbl>
              <c:idx val="25"/>
              <c:tx>
                <c:rich>
                  <a:bodyPr/>
                  <a:lstStyle/>
                  <a:p>
                    <a:r>
                      <a:t>350.0</a:t>
                    </a:r>
                  </a:p>
                </c:rich>
              </c:tx>
              <c:showLegendKey val="0"/>
              <c:showVal val="1"/>
              <c:showCatName val="0"/>
              <c:showSerName val="0"/>
              <c:showPercent val="0"/>
              <c:showBubbleSize val="0"/>
            </c:dLbl>
            <c:dLbl>
              <c:idx val="26"/>
              <c:tx>
                <c:rich>
                  <a:bodyPr/>
                  <a:lstStyle/>
                  <a:p>
                    <a:r>
                      <a:t>350.0</a:t>
                    </a:r>
                  </a:p>
                </c:rich>
              </c:tx>
              <c:showLegendKey val="0"/>
              <c:showVal val="1"/>
              <c:showCatName val="0"/>
              <c:showSerName val="0"/>
              <c:showPercent val="0"/>
              <c:showBubbleSize val="0"/>
            </c:dLbl>
            <c:dLbl>
              <c:idx val="27"/>
              <c:tx>
                <c:rich>
                  <a:bodyPr/>
                  <a:lstStyle/>
                  <a:p>
                    <a:r>
                      <a:t>125.0</a:t>
                    </a:r>
                  </a:p>
                </c:rich>
              </c:tx>
              <c:showLegendKey val="0"/>
              <c:showVal val="1"/>
              <c:showCatName val="0"/>
              <c:showSerName val="0"/>
              <c:showPercent val="0"/>
              <c:showBubbleSize val="0"/>
            </c:dLbl>
            <c:dLbl>
              <c:idx val="28"/>
              <c:tx>
                <c:rich>
                  <a:bodyPr/>
                  <a:lstStyle/>
                  <a:p>
                    <a:r>
                      <a:t>385.0</a:t>
                    </a:r>
                  </a:p>
                </c:rich>
              </c:tx>
              <c:showLegendKey val="0"/>
              <c:showVal val="1"/>
              <c:showCatName val="0"/>
              <c:showSerName val="0"/>
              <c:showPercent val="0"/>
              <c:showBubbleSize val="0"/>
            </c:dLbl>
            <c:dLbl>
              <c:idx val="29"/>
              <c:tx>
                <c:rich>
                  <a:bodyPr/>
                  <a:lstStyle/>
                  <a:p>
                    <a:r>
                      <a:t>299.0</a:t>
                    </a:r>
                  </a:p>
                </c:rich>
              </c:tx>
              <c:showLegendKey val="0"/>
              <c:showVal val="1"/>
              <c:showCatName val="0"/>
              <c:showSerName val="0"/>
              <c:showPercent val="0"/>
              <c:showBubbleSize val="0"/>
            </c:dLbl>
            <c:dLbl>
              <c:idx val="30"/>
              <c:tx>
                <c:rich>
                  <a:bodyPr/>
                  <a:lstStyle/>
                  <a:p>
                    <a:r>
                      <a:t>205.0</a:t>
                    </a:r>
                  </a:p>
                </c:rich>
              </c:tx>
              <c:showLegendKey val="0"/>
              <c:showVal val="1"/>
              <c:showCatName val="0"/>
              <c:showSerName val="0"/>
              <c:showPercent val="0"/>
              <c:showBubbleSize val="0"/>
            </c:dLbl>
            <c:dLbl>
              <c:idx val="31"/>
              <c:tx>
                <c:rich>
                  <a:bodyPr/>
                  <a:lstStyle/>
                  <a:p>
                    <a:r>
                      <a:t>105.0</a:t>
                    </a:r>
                  </a:p>
                </c:rich>
              </c:tx>
              <c:showLegendKey val="0"/>
              <c:showVal val="1"/>
              <c:showCatName val="0"/>
              <c:showSerName val="0"/>
              <c:showPercent val="0"/>
              <c:showBubbleSize val="0"/>
            </c:dLbl>
            <c:dLbl>
              <c:idx val="3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4</c:f>
              <c:strCache>
                <c:ptCount val="33"/>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Cosmetics Spray Crema 50+ 220Ml</c:v>
                </c:pt>
                <c:pt idx="8">
                  <c:v>Edgewell Banana Boat Dry Balance Sunscreen Adults Sport Crema 50+ 180Ml</c:v>
                </c:pt>
                <c:pt idx="9">
                  <c:v>Edgewell Banana Boat Dry Balance Sunscreen Adults Sport Spray Liquido 50 220Ml</c:v>
                </c:pt>
                <c:pt idx="10">
                  <c:v>Edgewell Banana Boat Kids Sport Sunscreen Kids Cosmetics Crema 50 180Ml</c:v>
                </c:pt>
                <c:pt idx="11">
                  <c:v>Edgewell Banana Boat Mineral Sunscreen Adults Cosmetics Locion 50 60Ml</c:v>
                </c:pt>
                <c:pt idx="12">
                  <c:v>Edgewell Banana Boat Mineral Sunscreen Adults Sport Locion 50 180Ml</c:v>
                </c:pt>
                <c:pt idx="13">
                  <c:v>Edgewell Banana Boat Mineral Sunscreen Kids Cosmetics Locion 50 180Ml</c:v>
                </c:pt>
                <c:pt idx="14">
                  <c:v>Edgewell Banana Boat Tanning Tanning Adults Cosmetics Spray Aceite 0 - 5 237Ml</c:v>
                </c:pt>
                <c:pt idx="15">
                  <c:v>Edgewell Banana Boat Ultra Sunscreen Adults Sport Roll-On 60+ 75Ml</c:v>
                </c:pt>
                <c:pt idx="16">
                  <c:v>Edgewell Beauty Care Antioxidant Sunscreen Adults Cosmetics Liquido 15 - 19 100Ml</c:v>
                </c:pt>
                <c:pt idx="17">
                  <c:v>Edgewell Beauty Care Antioxidant Sunscreen Adults Cosmetics Liquido 50+ 50Ml</c:v>
                </c:pt>
                <c:pt idx="18">
                  <c:v>Edgewell Beauty Care Matte Sunscreen Adults Cosmetics Liquido 30 50Ml</c:v>
                </c:pt>
                <c:pt idx="19">
                  <c:v>Edgewell Beauty Care Sensitive Sunscreen Adults Cosmetics Liquido 50+ 50Ml</c:v>
                </c:pt>
                <c:pt idx="20">
                  <c:v>Edgewell Hawaiian Tropic After Sun After Sun Adults Cosmetics Gel 0 - 5 240Ml</c:v>
                </c:pt>
                <c:pt idx="21">
                  <c:v>Edgewell Hawaiian Tropic Carrot Tanning Adults Cosmetics Crema 10 - 14 240Ml</c:v>
                </c:pt>
                <c:pt idx="22">
                  <c:v>Edgewell Hawaiian Tropic Island Sport Sunscreen Adults Sport Liquido 50 60Ml</c:v>
                </c:pt>
                <c:pt idx="23">
                  <c:v>Edgewell Hawaiian Tropic Other Sunscreen Adults Cosmetics Crema 50+ 240Ml</c:v>
                </c:pt>
                <c:pt idx="24">
                  <c:v>Edgewell Hawaiian Tropic Ozono Sunscreen Adults Cosmetics Liquido 50+ 120Ml</c:v>
                </c:pt>
                <c:pt idx="25">
                  <c:v>Edgewell Hawaiian Tropic Ozono Sunscreen Adults Cosmetics Liquido 50+ 180Ml</c:v>
                </c:pt>
                <c:pt idx="26">
                  <c:v>Edgewell Hawaiian Tropic Ozono Sunscreen Adults Cosmetics Liquido 50+ 240Ml</c:v>
                </c:pt>
                <c:pt idx="27">
                  <c:v>Edgewell Hawaiian Tropic Ozono Sunscreen Adults Cosmetics Liquido 50+ 90Ml</c:v>
                </c:pt>
                <c:pt idx="28">
                  <c:v>Edgewell Hawaiian Tropic Ozono Sunscreen Adults Cosmetics Spray Liquido 50+ 180Ml</c:v>
                </c:pt>
                <c:pt idx="29">
                  <c:v>Edgewell Hawaiian Tropic Sheer Touch Sunscreen Adults Cosmetics Crema 30 - 49 240Ml</c:v>
                </c:pt>
                <c:pt idx="30">
                  <c:v>Edgewell Hawaiian Tropic Sheer Touch Sunscreen Adults Cosmetics Crema 50 120Ml</c:v>
                </c:pt>
                <c:pt idx="31">
                  <c:v>Edgewell Hawaiian Tropic Sheer Touch Sunscreen Adults Cosmetics Liquido 30 - 49 60Ml</c:v>
                </c:pt>
                <c:pt idx="32">
                  <c:v>Edgewell Hawaiian Tropic Tanning Sunscreen Adults Cosmetics Spray Liquido 15 - 19 220Ml</c:v>
                </c:pt>
              </c:strCache>
            </c:strRef>
          </c:cat>
          <c:val>
            <c:numRef>
              <c:f>Sheet1!$B$2:$B$34</c:f>
              <c:numCache>
                <c:formatCode>General</c:formatCode>
                <c:ptCount val="33"/>
                <c:pt idx="0">
                  <c:v>310.0</c:v>
                </c:pt>
                <c:pt idx="1">
                  <c:v>105.0</c:v>
                </c:pt>
                <c:pt idx="2">
                  <c:v>305.0</c:v>
                </c:pt>
                <c:pt idx="3">
                  <c:v>349.0</c:v>
                </c:pt>
                <c:pt idx="4">
                  <c:v>305.0</c:v>
                </c:pt>
                <c:pt idx="5">
                  <c:v>367.5</c:v>
                </c:pt>
                <c:pt idx="6">
                  <c:v>305.0</c:v>
                </c:pt>
                <c:pt idx="7">
                  <c:v>249.0</c:v>
                </c:pt>
                <c:pt idx="8">
                  <c:v>335.0</c:v>
                </c:pt>
                <c:pt idx="9">
                  <c:v>385.0</c:v>
                </c:pt>
                <c:pt idx="10">
                  <c:v>305.0</c:v>
                </c:pt>
                <c:pt idx="11">
                  <c:v>310.0</c:v>
                </c:pt>
                <c:pt idx="12">
                  <c:v>249.0</c:v>
                </c:pt>
                <c:pt idx="13">
                  <c:v>242.0</c:v>
                </c:pt>
                <c:pt idx="14">
                  <c:v>279.0</c:v>
                </c:pt>
                <c:pt idx="15">
                  <c:v>215.0</c:v>
                </c:pt>
                <c:pt idx="16">
                  <c:v>240.0</c:v>
                </c:pt>
                <c:pt idx="17">
                  <c:v>179.0</c:v>
                </c:pt>
                <c:pt idx="18">
                  <c:v>179.0</c:v>
                </c:pt>
                <c:pt idx="19">
                  <c:v>179.0</c:v>
                </c:pt>
                <c:pt idx="20">
                  <c:v>299.0</c:v>
                </c:pt>
                <c:pt idx="21">
                  <c:v>299.0</c:v>
                </c:pt>
                <c:pt idx="22">
                  <c:v>105.0</c:v>
                </c:pt>
                <c:pt idx="23">
                  <c:v>350.0</c:v>
                </c:pt>
                <c:pt idx="24">
                  <c:v>205.0</c:v>
                </c:pt>
                <c:pt idx="25">
                  <c:v>350.0</c:v>
                </c:pt>
                <c:pt idx="26">
                  <c:v>350.0</c:v>
                </c:pt>
                <c:pt idx="27">
                  <c:v>125.0</c:v>
                </c:pt>
                <c:pt idx="28">
                  <c:v>385.0</c:v>
                </c:pt>
                <c:pt idx="29">
                  <c:v>299.0</c:v>
                </c:pt>
                <c:pt idx="30">
                  <c:v>205.0</c:v>
                </c:pt>
                <c:pt idx="31">
                  <c:v>105.0</c:v>
                </c:pt>
                <c:pt idx="3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9.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dLbl>
              <c:idx val="12"/>
              <c:tx>
                <c:rich>
                  <a:bodyPr/>
                  <a:lstStyle/>
                  <a:p>
                    <a:r>
                      <a:t>279.0</a:t>
                    </a:r>
                  </a:p>
                </c:rich>
              </c:tx>
              <c:showLegendKey val="0"/>
              <c:showVal val="1"/>
              <c:showCatName val="0"/>
              <c:showSerName val="0"/>
              <c:showPercent val="0"/>
              <c:showBubbleSize val="0"/>
            </c:dLbl>
            <c:dLbl>
              <c:idx val="13"/>
              <c:tx>
                <c:rich>
                  <a:bodyPr/>
                  <a:lstStyle/>
                  <a:p>
                    <a:r>
                      <a:t>215.0</a:t>
                    </a:r>
                  </a:p>
                </c:rich>
              </c:tx>
              <c:showLegendKey val="0"/>
              <c:showVal val="1"/>
              <c:showCatName val="0"/>
              <c:showSerName val="0"/>
              <c:showPercent val="0"/>
              <c:showBubbleSize val="0"/>
            </c:dLbl>
            <c:dLbl>
              <c:idx val="14"/>
              <c:tx>
                <c:rich>
                  <a:bodyPr/>
                  <a:lstStyle/>
                  <a:p>
                    <a:r>
                      <a:t>240.0</a:t>
                    </a:r>
                  </a:p>
                </c:rich>
              </c:tx>
              <c:showLegendKey val="0"/>
              <c:showVal val="1"/>
              <c:showCatName val="0"/>
              <c:showSerName val="0"/>
              <c:showPercent val="0"/>
              <c:showBubbleSize val="0"/>
            </c:dLbl>
            <c:dLbl>
              <c:idx val="15"/>
              <c:tx>
                <c:rich>
                  <a:bodyPr/>
                  <a:lstStyle/>
                  <a:p>
                    <a:r>
                      <a:t>179.0</a:t>
                    </a:r>
                  </a:p>
                </c:rich>
              </c:tx>
              <c:showLegendKey val="0"/>
              <c:showVal val="1"/>
              <c:showCatName val="0"/>
              <c:showSerName val="0"/>
              <c:showPercent val="0"/>
              <c:showBubbleSize val="0"/>
            </c:dLbl>
            <c:dLbl>
              <c:idx val="16"/>
              <c:tx>
                <c:rich>
                  <a:bodyPr/>
                  <a:lstStyle/>
                  <a:p>
                    <a:r>
                      <a:t>179.0</a:t>
                    </a:r>
                  </a:p>
                </c:rich>
              </c:tx>
              <c:showLegendKey val="0"/>
              <c:showVal val="1"/>
              <c:showCatName val="0"/>
              <c:showSerName val="0"/>
              <c:showPercent val="0"/>
              <c:showBubbleSize val="0"/>
            </c:dLbl>
            <c:dLbl>
              <c:idx val="17"/>
              <c:tx>
                <c:rich>
                  <a:bodyPr/>
                  <a:lstStyle/>
                  <a:p>
                    <a:r>
                      <a:t>179.0</a:t>
                    </a:r>
                  </a:p>
                </c:rich>
              </c:tx>
              <c:showLegendKey val="0"/>
              <c:showVal val="1"/>
              <c:showCatName val="0"/>
              <c:showSerName val="0"/>
              <c:showPercent val="0"/>
              <c:showBubbleSize val="0"/>
            </c:dLbl>
            <c:dLbl>
              <c:idx val="18"/>
              <c:tx>
                <c:rich>
                  <a:bodyPr/>
                  <a:lstStyle/>
                  <a:p>
                    <a:r>
                      <a:t>299.0</a:t>
                    </a:r>
                  </a:p>
                </c:rich>
              </c:tx>
              <c:showLegendKey val="0"/>
              <c:showVal val="1"/>
              <c:showCatName val="0"/>
              <c:showSerName val="0"/>
              <c:showPercent val="0"/>
              <c:showBubbleSize val="0"/>
            </c:dLbl>
            <c:dLbl>
              <c:idx val="19"/>
              <c:tx>
                <c:rich>
                  <a:bodyPr/>
                  <a:lstStyle/>
                  <a:p>
                    <a:r>
                      <a:t>299.0</a:t>
                    </a:r>
                  </a:p>
                </c:rich>
              </c:tx>
              <c:showLegendKey val="0"/>
              <c:showVal val="1"/>
              <c:showCatName val="0"/>
              <c:showSerName val="0"/>
              <c:showPercent val="0"/>
              <c:showBubbleSize val="0"/>
            </c:dLbl>
            <c:dLbl>
              <c:idx val="20"/>
              <c:tx>
                <c:rich>
                  <a:bodyPr/>
                  <a:lstStyle/>
                  <a:p>
                    <a:r>
                      <a:t>105.0</a:t>
                    </a:r>
                  </a:p>
                </c:rich>
              </c:tx>
              <c:showLegendKey val="0"/>
              <c:showVal val="1"/>
              <c:showCatName val="0"/>
              <c:showSerName val="0"/>
              <c:showPercent val="0"/>
              <c:showBubbleSize val="0"/>
            </c:dLbl>
            <c:dLbl>
              <c:idx val="21"/>
              <c:tx>
                <c:rich>
                  <a:bodyPr/>
                  <a:lstStyle/>
                  <a:p>
                    <a:r>
                      <a:t>350.0</a:t>
                    </a:r>
                  </a:p>
                </c:rich>
              </c:tx>
              <c:showLegendKey val="0"/>
              <c:showVal val="1"/>
              <c:showCatName val="0"/>
              <c:showSerName val="0"/>
              <c:showPercent val="0"/>
              <c:showBubbleSize val="0"/>
            </c:dLbl>
            <c:dLbl>
              <c:idx val="22"/>
              <c:tx>
                <c:rich>
                  <a:bodyPr/>
                  <a:lstStyle/>
                  <a:p>
                    <a:r>
                      <a:t>205.0</a:t>
                    </a:r>
                  </a:p>
                </c:rich>
              </c:tx>
              <c:showLegendKey val="0"/>
              <c:showVal val="1"/>
              <c:showCatName val="0"/>
              <c:showSerName val="0"/>
              <c:showPercent val="0"/>
              <c:showBubbleSize val="0"/>
            </c:dLbl>
            <c:dLbl>
              <c:idx val="23"/>
              <c:tx>
                <c:rich>
                  <a:bodyPr/>
                  <a:lstStyle/>
                  <a:p>
                    <a:r>
                      <a:t>350.0</a:t>
                    </a:r>
                  </a:p>
                </c:rich>
              </c:tx>
              <c:showLegendKey val="0"/>
              <c:showVal val="1"/>
              <c:showCatName val="0"/>
              <c:showSerName val="0"/>
              <c:showPercent val="0"/>
              <c:showBubbleSize val="0"/>
            </c:dLbl>
            <c:dLbl>
              <c:idx val="24"/>
              <c:tx>
                <c:rich>
                  <a:bodyPr/>
                  <a:lstStyle/>
                  <a:p>
                    <a:r>
                      <a:t>350.0</a:t>
                    </a:r>
                  </a:p>
                </c:rich>
              </c:tx>
              <c:showLegendKey val="0"/>
              <c:showVal val="1"/>
              <c:showCatName val="0"/>
              <c:showSerName val="0"/>
              <c:showPercent val="0"/>
              <c:showBubbleSize val="0"/>
            </c:dLbl>
            <c:dLbl>
              <c:idx val="25"/>
              <c:tx>
                <c:rich>
                  <a:bodyPr/>
                  <a:lstStyle/>
                  <a:p>
                    <a:r>
                      <a:t>125.0</a:t>
                    </a:r>
                  </a:p>
                </c:rich>
              </c:tx>
              <c:showLegendKey val="0"/>
              <c:showVal val="1"/>
              <c:showCatName val="0"/>
              <c:showSerName val="0"/>
              <c:showPercent val="0"/>
              <c:showBubbleSize val="0"/>
            </c:dLbl>
            <c:dLbl>
              <c:idx val="26"/>
              <c:tx>
                <c:rich>
                  <a:bodyPr/>
                  <a:lstStyle/>
                  <a:p>
                    <a:r>
                      <a:t>385.0</a:t>
                    </a:r>
                  </a:p>
                </c:rich>
              </c:tx>
              <c:showLegendKey val="0"/>
              <c:showVal val="1"/>
              <c:showCatName val="0"/>
              <c:showSerName val="0"/>
              <c:showPercent val="0"/>
              <c:showBubbleSize val="0"/>
            </c:dLbl>
            <c:dLbl>
              <c:idx val="27"/>
              <c:tx>
                <c:rich>
                  <a:bodyPr/>
                  <a:lstStyle/>
                  <a:p>
                    <a:r>
                      <a:t>299.0</a:t>
                    </a:r>
                  </a:p>
                </c:rich>
              </c:tx>
              <c:showLegendKey val="0"/>
              <c:showVal val="1"/>
              <c:showCatName val="0"/>
              <c:showSerName val="0"/>
              <c:showPercent val="0"/>
              <c:showBubbleSize val="0"/>
            </c:dLbl>
            <c:dLbl>
              <c:idx val="28"/>
              <c:tx>
                <c:rich>
                  <a:bodyPr/>
                  <a:lstStyle/>
                  <a:p>
                    <a:r>
                      <a:t>205.0</a:t>
                    </a:r>
                  </a:p>
                </c:rich>
              </c:tx>
              <c:showLegendKey val="0"/>
              <c:showVal val="1"/>
              <c:showCatName val="0"/>
              <c:showSerName val="0"/>
              <c:showPercent val="0"/>
              <c:showBubbleSize val="0"/>
            </c:dLbl>
            <c:dLbl>
              <c:idx val="29"/>
              <c:tx>
                <c:rich>
                  <a:bodyPr/>
                  <a:lstStyle/>
                  <a:p>
                    <a:r>
                      <a:t>105.0</a:t>
                    </a:r>
                  </a:p>
                </c:rich>
              </c:tx>
              <c:showLegendKey val="0"/>
              <c:showVal val="1"/>
              <c:showCatName val="0"/>
              <c:showSerName val="0"/>
              <c:showPercent val="0"/>
              <c:showBubbleSize val="0"/>
            </c:dLbl>
            <c:dLbl>
              <c:idx val="3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2</c:f>
              <c:strCache>
                <c:ptCount val="31"/>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Adults Sport Locion 50 180Ml</c:v>
                </c:pt>
                <c:pt idx="11">
                  <c:v>Edgewell Banana Boat Mineral Sunscreen Kids Cosmetics Locion 50 180Ml</c:v>
                </c:pt>
                <c:pt idx="12">
                  <c:v>Edgewell Banana Boat Tanning Tanning Adults Cosmetics Spray Aceite 0 - 5 237Ml</c:v>
                </c:pt>
                <c:pt idx="13">
                  <c:v>Edgewell Banana Boat Ultra Sunscreen Adults Sport Roll-On 60+ 75Ml</c:v>
                </c:pt>
                <c:pt idx="14">
                  <c:v>Edgewell Beauty Care Antioxidant Sunscreen Adults Cosmetics Liquido 15 - 19 100Ml</c:v>
                </c:pt>
                <c:pt idx="15">
                  <c:v>Edgewell Beauty Care Antioxidant Sunscreen Adults Cosmetics Liquido 50+ 50Ml</c:v>
                </c:pt>
                <c:pt idx="16">
                  <c:v>Edgewell Beauty Care Matte Sunscreen Adults Cosmetics Liquido 30 50Ml</c:v>
                </c:pt>
                <c:pt idx="17">
                  <c:v>Edgewell Beauty Care Sensitive Sunscreen Adults Cosmetics Liquido 50+ 50Ml</c:v>
                </c:pt>
                <c:pt idx="18">
                  <c:v>Edgewell Hawaiian Tropic After Sun After Sun Adults Cosmetics Gel 0 - 5 240Ml</c:v>
                </c:pt>
                <c:pt idx="19">
                  <c:v>Edgewell Hawaiian Tropic Carrot Tanning Adults Cosmetics Crema 10 - 14 240Ml</c:v>
                </c:pt>
                <c:pt idx="20">
                  <c:v>Edgewell Hawaiian Tropic Island Sport Sunscreen Adults Sport Liquido 50 60Ml</c:v>
                </c:pt>
                <c:pt idx="21">
                  <c:v>Edgewell Hawaiian Tropic Other Sunscreen Adults Cosmetics Crema 50+ 240Ml</c:v>
                </c:pt>
                <c:pt idx="22">
                  <c:v>Edgewell Hawaiian Tropic Ozono Sunscreen Adults Cosmetics Liquido 50+ 120Ml</c:v>
                </c:pt>
                <c:pt idx="23">
                  <c:v>Edgewell Hawaiian Tropic Ozono Sunscreen Adults Cosmetics Liquido 50+ 180Ml</c:v>
                </c:pt>
                <c:pt idx="24">
                  <c:v>Edgewell Hawaiian Tropic Ozono Sunscreen Adults Cosmetics Liquido 50+ 240Ml</c:v>
                </c:pt>
                <c:pt idx="25">
                  <c:v>Edgewell Hawaiian Tropic Ozono Sunscreen Adults Cosmetics Liquido 50+ 90Ml</c:v>
                </c:pt>
                <c:pt idx="26">
                  <c:v>Edgewell Hawaiian Tropic Ozono Sunscreen Adults Cosmetics Spray Liquido 50+ 180Ml</c:v>
                </c:pt>
                <c:pt idx="27">
                  <c:v>Edgewell Hawaiian Tropic Sheer Touch Sunscreen Adults Cosmetics Crema 30 - 49 240Ml</c:v>
                </c:pt>
                <c:pt idx="28">
                  <c:v>Edgewell Hawaiian Tropic Sheer Touch Sunscreen Adults Cosmetics Crema 50 120Ml</c:v>
                </c:pt>
                <c:pt idx="29">
                  <c:v>Edgewell Hawaiian Tropic Sheer Touch Sunscreen Adults Cosmetics Liquido 30 - 49 60Ml</c:v>
                </c:pt>
                <c:pt idx="30">
                  <c:v>Edgewell Hawaiian Tropic Tanning Sunscreen Adults Cosmetics Spray Liquido 15 - 19 220Ml</c:v>
                </c:pt>
              </c:strCache>
            </c:strRef>
          </c:cat>
          <c:val>
            <c:numRef>
              <c:f>Sheet1!$B$2:$B$32</c:f>
              <c:numCache>
                <c:formatCode>General</c:formatCode>
                <c:ptCount val="31"/>
                <c:pt idx="0">
                  <c:v>310.0</c:v>
                </c:pt>
                <c:pt idx="1">
                  <c:v>305.0</c:v>
                </c:pt>
                <c:pt idx="2">
                  <c:v>349.0</c:v>
                </c:pt>
                <c:pt idx="3">
                  <c:v>305.0</c:v>
                </c:pt>
                <c:pt idx="4">
                  <c:v>367.5</c:v>
                </c:pt>
                <c:pt idx="5">
                  <c:v>305.0</c:v>
                </c:pt>
                <c:pt idx="6">
                  <c:v>335.0</c:v>
                </c:pt>
                <c:pt idx="7">
                  <c:v>385.0</c:v>
                </c:pt>
                <c:pt idx="8">
                  <c:v>305.0</c:v>
                </c:pt>
                <c:pt idx="9">
                  <c:v>310.0</c:v>
                </c:pt>
                <c:pt idx="10">
                  <c:v>249.0</c:v>
                </c:pt>
                <c:pt idx="11">
                  <c:v>242.0</c:v>
                </c:pt>
                <c:pt idx="12">
                  <c:v>279.0</c:v>
                </c:pt>
                <c:pt idx="13">
                  <c:v>215.0</c:v>
                </c:pt>
                <c:pt idx="14">
                  <c:v>240.0</c:v>
                </c:pt>
                <c:pt idx="15">
                  <c:v>179.0</c:v>
                </c:pt>
                <c:pt idx="16">
                  <c:v>179.0</c:v>
                </c:pt>
                <c:pt idx="17">
                  <c:v>179.0</c:v>
                </c:pt>
                <c:pt idx="18">
                  <c:v>299.0</c:v>
                </c:pt>
                <c:pt idx="19">
                  <c:v>299.0</c:v>
                </c:pt>
                <c:pt idx="20">
                  <c:v>105.0</c:v>
                </c:pt>
                <c:pt idx="21">
                  <c:v>350.0</c:v>
                </c:pt>
                <c:pt idx="22">
                  <c:v>205.0</c:v>
                </c:pt>
                <c:pt idx="23">
                  <c:v>350.0</c:v>
                </c:pt>
                <c:pt idx="24">
                  <c:v>350.0</c:v>
                </c:pt>
                <c:pt idx="25">
                  <c:v>125.0</c:v>
                </c:pt>
                <c:pt idx="26">
                  <c:v>385.0</c:v>
                </c:pt>
                <c:pt idx="27">
                  <c:v>299.0</c:v>
                </c:pt>
                <c:pt idx="28">
                  <c:v>205.0</c:v>
                </c:pt>
                <c:pt idx="29">
                  <c:v>105.0</c:v>
                </c:pt>
                <c:pt idx="3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9.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dLbl>
              <c:idx val="12"/>
              <c:tx>
                <c:rich>
                  <a:bodyPr/>
                  <a:lstStyle/>
                  <a:p>
                    <a:r>
                      <a:t>240.0</a:t>
                    </a:r>
                  </a:p>
                </c:rich>
              </c:tx>
              <c:showLegendKey val="0"/>
              <c:showVal val="1"/>
              <c:showCatName val="0"/>
              <c:showSerName val="0"/>
              <c:showPercent val="0"/>
              <c:showBubbleSize val="0"/>
            </c:dLbl>
            <c:dLbl>
              <c:idx val="13"/>
              <c:tx>
                <c:rich>
                  <a:bodyPr/>
                  <a:lstStyle/>
                  <a:p>
                    <a:r>
                      <a:t>179.0</a:t>
                    </a:r>
                  </a:p>
                </c:rich>
              </c:tx>
              <c:showLegendKey val="0"/>
              <c:showVal val="1"/>
              <c:showCatName val="0"/>
              <c:showSerName val="0"/>
              <c:showPercent val="0"/>
              <c:showBubbleSize val="0"/>
            </c:dLbl>
            <c:dLbl>
              <c:idx val="14"/>
              <c:tx>
                <c:rich>
                  <a:bodyPr/>
                  <a:lstStyle/>
                  <a:p>
                    <a:r>
                      <a:t>179.0</a:t>
                    </a:r>
                  </a:p>
                </c:rich>
              </c:tx>
              <c:showLegendKey val="0"/>
              <c:showVal val="1"/>
              <c:showCatName val="0"/>
              <c:showSerName val="0"/>
              <c:showPercent val="0"/>
              <c:showBubbleSize val="0"/>
            </c:dLbl>
            <c:dLbl>
              <c:idx val="15"/>
              <c:tx>
                <c:rich>
                  <a:bodyPr/>
                  <a:lstStyle/>
                  <a:p>
                    <a:r>
                      <a:t>179.0</a:t>
                    </a:r>
                  </a:p>
                </c:rich>
              </c:tx>
              <c:showLegendKey val="0"/>
              <c:showVal val="1"/>
              <c:showCatName val="0"/>
              <c:showSerName val="0"/>
              <c:showPercent val="0"/>
              <c:showBubbleSize val="0"/>
            </c:dLbl>
            <c:dLbl>
              <c:idx val="16"/>
              <c:tx>
                <c:rich>
                  <a:bodyPr/>
                  <a:lstStyle/>
                  <a:p>
                    <a:r>
                      <a:t>299.0</a:t>
                    </a:r>
                  </a:p>
                </c:rich>
              </c:tx>
              <c:showLegendKey val="0"/>
              <c:showVal val="1"/>
              <c:showCatName val="0"/>
              <c:showSerName val="0"/>
              <c:showPercent val="0"/>
              <c:showBubbleSize val="0"/>
            </c:dLbl>
            <c:dLbl>
              <c:idx val="17"/>
              <c:tx>
                <c:rich>
                  <a:bodyPr/>
                  <a:lstStyle/>
                  <a:p>
                    <a:r>
                      <a:t>299.0</a:t>
                    </a:r>
                  </a:p>
                </c:rich>
              </c:tx>
              <c:showLegendKey val="0"/>
              <c:showVal val="1"/>
              <c:showCatName val="0"/>
              <c:showSerName val="0"/>
              <c:showPercent val="0"/>
              <c:showBubbleSize val="0"/>
            </c:dLbl>
            <c:dLbl>
              <c:idx val="18"/>
              <c:tx>
                <c:rich>
                  <a:bodyPr/>
                  <a:lstStyle/>
                  <a:p>
                    <a:r>
                      <a:t>105.0</a:t>
                    </a:r>
                  </a:p>
                </c:rich>
              </c:tx>
              <c:showLegendKey val="0"/>
              <c:showVal val="1"/>
              <c:showCatName val="0"/>
              <c:showSerName val="0"/>
              <c:showPercent val="0"/>
              <c:showBubbleSize val="0"/>
            </c:dLbl>
            <c:dLbl>
              <c:idx val="19"/>
              <c:tx>
                <c:rich>
                  <a:bodyPr/>
                  <a:lstStyle/>
                  <a:p>
                    <a:r>
                      <a:t>350.0</a:t>
                    </a:r>
                  </a:p>
                </c:rich>
              </c:tx>
              <c:showLegendKey val="0"/>
              <c:showVal val="1"/>
              <c:showCatName val="0"/>
              <c:showSerName val="0"/>
              <c:showPercent val="0"/>
              <c:showBubbleSize val="0"/>
            </c:dLbl>
            <c:dLbl>
              <c:idx val="20"/>
              <c:tx>
                <c:rich>
                  <a:bodyPr/>
                  <a:lstStyle/>
                  <a:p>
                    <a:r>
                      <a:t>350.0</a:t>
                    </a:r>
                  </a:p>
                </c:rich>
              </c:tx>
              <c:showLegendKey val="0"/>
              <c:showVal val="1"/>
              <c:showCatName val="0"/>
              <c:showSerName val="0"/>
              <c:showPercent val="0"/>
              <c:showBubbleSize val="0"/>
            </c:dLbl>
            <c:dLbl>
              <c:idx val="21"/>
              <c:tx>
                <c:rich>
                  <a:bodyPr/>
                  <a:lstStyle/>
                  <a:p>
                    <a:r>
                      <a:t>350.0</a:t>
                    </a:r>
                  </a:p>
                </c:rich>
              </c:tx>
              <c:showLegendKey val="0"/>
              <c:showVal val="1"/>
              <c:showCatName val="0"/>
              <c:showSerName val="0"/>
              <c:showPercent val="0"/>
              <c:showBubbleSize val="0"/>
            </c:dLbl>
            <c:dLbl>
              <c:idx val="22"/>
              <c:tx>
                <c:rich>
                  <a:bodyPr/>
                  <a:lstStyle/>
                  <a:p>
                    <a:r>
                      <a:t>385.0</a:t>
                    </a:r>
                  </a:p>
                </c:rich>
              </c:tx>
              <c:showLegendKey val="0"/>
              <c:showVal val="1"/>
              <c:showCatName val="0"/>
              <c:showSerName val="0"/>
              <c:showPercent val="0"/>
              <c:showBubbleSize val="0"/>
            </c:dLbl>
            <c:dLbl>
              <c:idx val="23"/>
              <c:tx>
                <c:rich>
                  <a:bodyPr/>
                  <a:lstStyle/>
                  <a:p>
                    <a:r>
                      <a:t>205.0</a:t>
                    </a:r>
                  </a:p>
                </c:rich>
              </c:tx>
              <c:showLegendKey val="0"/>
              <c:showVal val="1"/>
              <c:showCatName val="0"/>
              <c:showSerName val="0"/>
              <c:showPercent val="0"/>
              <c:showBubbleSize val="0"/>
            </c:dLbl>
            <c:dLbl>
              <c:idx val="24"/>
              <c:tx>
                <c:rich>
                  <a:bodyPr/>
                  <a:lstStyle/>
                  <a:p>
                    <a:r>
                      <a:t>105.0</a:t>
                    </a:r>
                  </a:p>
                </c:rich>
              </c:tx>
              <c:showLegendKey val="0"/>
              <c:showVal val="1"/>
              <c:showCatName val="0"/>
              <c:showSerName val="0"/>
              <c:showPercent val="0"/>
              <c:showBubbleSize val="0"/>
            </c:dLbl>
            <c:dLbl>
              <c:idx val="25"/>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Adults Sport Locion 50 180Ml</c:v>
                </c:pt>
                <c:pt idx="11">
                  <c:v>Edgewell Banana Boat Mineral Sunscreen Kids Cosmetics Locion 50 180Ml</c:v>
                </c:pt>
                <c:pt idx="12">
                  <c:v>Edgewell Beauty Care Antioxidant Sunscreen Adults Cosmetics Liquido 15 - 19 100Ml</c:v>
                </c:pt>
                <c:pt idx="13">
                  <c:v>Edgewell Beauty Care Antioxidant Sunscreen Adults Cosmetics Liquido 50+ 50Ml</c:v>
                </c:pt>
                <c:pt idx="14">
                  <c:v>Edgewell Beauty Care Matte Sunscreen Adults Cosmetics Liquido 30 50Ml</c:v>
                </c:pt>
                <c:pt idx="15">
                  <c:v>Edgewell Beauty Care Sensitive Sunscreen Adults Cosmetics Liquido 50+ 50Ml</c:v>
                </c:pt>
                <c:pt idx="16">
                  <c:v>Edgewell Hawaiian Tropic After Sun After Sun Adults Cosmetics Gel 0 - 5 240Ml</c:v>
                </c:pt>
                <c:pt idx="17">
                  <c:v>Edgewell Hawaiian Tropic Carrot Tanning Adults Cosmetics Crema 10 - 14 240Ml</c:v>
                </c:pt>
                <c:pt idx="18">
                  <c:v>Edgewell Hawaiian Tropic Island Sport Sunscreen Adults Sport Liquido 50 60Ml</c:v>
                </c:pt>
                <c:pt idx="19">
                  <c:v>Edgewell Hawaiian Tropic Other Sunscreen Adults Cosmetics Crema 50+ 240Ml</c:v>
                </c:pt>
                <c:pt idx="20">
                  <c:v>Edgewell Hawaiian Tropic Ozono Sunscreen Adults Cosmetics Liquido 50+ 180Ml</c:v>
                </c:pt>
                <c:pt idx="21">
                  <c:v>Edgewell Hawaiian Tropic Ozono Sunscreen Adults Cosmetics Liquido 50+ 240Ml</c:v>
                </c:pt>
                <c:pt idx="22">
                  <c:v>Edgewell Hawaiian Tropic Ozono Sunscreen Adults Cosmetics Spray Liquido 50+ 180Ml</c:v>
                </c:pt>
                <c:pt idx="23">
                  <c:v>Edgewell Hawaiian Tropic Sheer Touch Sunscreen Adults Cosmetics Crema 50 120Ml</c:v>
                </c:pt>
                <c:pt idx="24">
                  <c:v>Edgewell Hawaiian Tropic Sheer Touch Sunscreen Adults Cosmetics Liquido 30 - 49 60Ml</c:v>
                </c:pt>
                <c:pt idx="25">
                  <c:v>Edgewell Hawaiian Tropic Tanning Sunscreen Adults Cosmetics Spray Liquido 15 - 19 220Ml</c:v>
                </c:pt>
              </c:strCache>
            </c:strRef>
          </c:cat>
          <c:val>
            <c:numRef>
              <c:f>Sheet1!$B$2:$B$27</c:f>
              <c:numCache>
                <c:formatCode>General</c:formatCode>
                <c:ptCount val="26"/>
                <c:pt idx="0">
                  <c:v>310.0</c:v>
                </c:pt>
                <c:pt idx="1">
                  <c:v>105.0</c:v>
                </c:pt>
                <c:pt idx="2">
                  <c:v>305.0</c:v>
                </c:pt>
                <c:pt idx="3">
                  <c:v>349.0</c:v>
                </c:pt>
                <c:pt idx="4">
                  <c:v>305.0</c:v>
                </c:pt>
                <c:pt idx="5">
                  <c:v>385.0</c:v>
                </c:pt>
                <c:pt idx="6">
                  <c:v>305.0</c:v>
                </c:pt>
                <c:pt idx="7">
                  <c:v>385.0</c:v>
                </c:pt>
                <c:pt idx="8">
                  <c:v>305.0</c:v>
                </c:pt>
                <c:pt idx="9">
                  <c:v>310.0</c:v>
                </c:pt>
                <c:pt idx="10">
                  <c:v>249.0</c:v>
                </c:pt>
                <c:pt idx="11">
                  <c:v>242.0</c:v>
                </c:pt>
                <c:pt idx="12">
                  <c:v>240.0</c:v>
                </c:pt>
                <c:pt idx="13">
                  <c:v>179.0</c:v>
                </c:pt>
                <c:pt idx="14">
                  <c:v>179.0</c:v>
                </c:pt>
                <c:pt idx="15">
                  <c:v>179.0</c:v>
                </c:pt>
                <c:pt idx="16">
                  <c:v>299.0</c:v>
                </c:pt>
                <c:pt idx="17">
                  <c:v>299.0</c:v>
                </c:pt>
                <c:pt idx="18">
                  <c:v>105.0</c:v>
                </c:pt>
                <c:pt idx="19">
                  <c:v>350.0</c:v>
                </c:pt>
                <c:pt idx="20">
                  <c:v>350.0</c:v>
                </c:pt>
                <c:pt idx="21">
                  <c:v>350.0</c:v>
                </c:pt>
                <c:pt idx="22">
                  <c:v>385.0</c:v>
                </c:pt>
                <c:pt idx="23">
                  <c:v>205.0</c:v>
                </c:pt>
                <c:pt idx="24">
                  <c:v>105.0</c:v>
                </c:pt>
                <c:pt idx="25">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8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9.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dLbl>
              <c:idx val="12"/>
              <c:tx>
                <c:rich>
                  <a:bodyPr/>
                  <a:lstStyle/>
                  <a:p>
                    <a:r>
                      <a:t>279.0</a:t>
                    </a:r>
                  </a:p>
                </c:rich>
              </c:tx>
              <c:showLegendKey val="0"/>
              <c:showVal val="1"/>
              <c:showCatName val="0"/>
              <c:showSerName val="0"/>
              <c:showPercent val="0"/>
              <c:showBubbleSize val="0"/>
            </c:dLbl>
            <c:dLbl>
              <c:idx val="13"/>
              <c:tx>
                <c:rich>
                  <a:bodyPr/>
                  <a:lstStyle/>
                  <a:p>
                    <a:r>
                      <a:t>240.0</a:t>
                    </a:r>
                  </a:p>
                </c:rich>
              </c:tx>
              <c:showLegendKey val="0"/>
              <c:showVal val="1"/>
              <c:showCatName val="0"/>
              <c:showSerName val="0"/>
              <c:showPercent val="0"/>
              <c:showBubbleSize val="0"/>
            </c:dLbl>
            <c:dLbl>
              <c:idx val="14"/>
              <c:tx>
                <c:rich>
                  <a:bodyPr/>
                  <a:lstStyle/>
                  <a:p>
                    <a:r>
                      <a:t>179.0</a:t>
                    </a:r>
                  </a:p>
                </c:rich>
              </c:tx>
              <c:showLegendKey val="0"/>
              <c:showVal val="1"/>
              <c:showCatName val="0"/>
              <c:showSerName val="0"/>
              <c:showPercent val="0"/>
              <c:showBubbleSize val="0"/>
            </c:dLbl>
            <c:dLbl>
              <c:idx val="15"/>
              <c:tx>
                <c:rich>
                  <a:bodyPr/>
                  <a:lstStyle/>
                  <a:p>
                    <a:r>
                      <a:t>179.0</a:t>
                    </a:r>
                  </a:p>
                </c:rich>
              </c:tx>
              <c:showLegendKey val="0"/>
              <c:showVal val="1"/>
              <c:showCatName val="0"/>
              <c:showSerName val="0"/>
              <c:showPercent val="0"/>
              <c:showBubbleSize val="0"/>
            </c:dLbl>
            <c:dLbl>
              <c:idx val="16"/>
              <c:tx>
                <c:rich>
                  <a:bodyPr/>
                  <a:lstStyle/>
                  <a:p>
                    <a:r>
                      <a:t>179.0</a:t>
                    </a:r>
                  </a:p>
                </c:rich>
              </c:tx>
              <c:showLegendKey val="0"/>
              <c:showVal val="1"/>
              <c:showCatName val="0"/>
              <c:showSerName val="0"/>
              <c:showPercent val="0"/>
              <c:showBubbleSize val="0"/>
            </c:dLbl>
            <c:dLbl>
              <c:idx val="17"/>
              <c:tx>
                <c:rich>
                  <a:bodyPr/>
                  <a:lstStyle/>
                  <a:p>
                    <a:r>
                      <a:t>299.0</a:t>
                    </a:r>
                  </a:p>
                </c:rich>
              </c:tx>
              <c:showLegendKey val="0"/>
              <c:showVal val="1"/>
              <c:showCatName val="0"/>
              <c:showSerName val="0"/>
              <c:showPercent val="0"/>
              <c:showBubbleSize val="0"/>
            </c:dLbl>
            <c:dLbl>
              <c:idx val="18"/>
              <c:tx>
                <c:rich>
                  <a:bodyPr/>
                  <a:lstStyle/>
                  <a:p>
                    <a:r>
                      <a:t>299.0</a:t>
                    </a:r>
                  </a:p>
                </c:rich>
              </c:tx>
              <c:showLegendKey val="0"/>
              <c:showVal val="1"/>
              <c:showCatName val="0"/>
              <c:showSerName val="0"/>
              <c:showPercent val="0"/>
              <c:showBubbleSize val="0"/>
            </c:dLbl>
            <c:dLbl>
              <c:idx val="19"/>
              <c:tx>
                <c:rich>
                  <a:bodyPr/>
                  <a:lstStyle/>
                  <a:p>
                    <a:r>
                      <a:t>105.0</a:t>
                    </a:r>
                  </a:p>
                </c:rich>
              </c:tx>
              <c:showLegendKey val="0"/>
              <c:showVal val="1"/>
              <c:showCatName val="0"/>
              <c:showSerName val="0"/>
              <c:showPercent val="0"/>
              <c:showBubbleSize val="0"/>
            </c:dLbl>
            <c:dLbl>
              <c:idx val="20"/>
              <c:tx>
                <c:rich>
                  <a:bodyPr/>
                  <a:lstStyle/>
                  <a:p>
                    <a:r>
                      <a:t>350.0</a:t>
                    </a:r>
                  </a:p>
                </c:rich>
              </c:tx>
              <c:showLegendKey val="0"/>
              <c:showVal val="1"/>
              <c:showCatName val="0"/>
              <c:showSerName val="0"/>
              <c:showPercent val="0"/>
              <c:showBubbleSize val="0"/>
            </c:dLbl>
            <c:dLbl>
              <c:idx val="21"/>
              <c:tx>
                <c:rich>
                  <a:bodyPr/>
                  <a:lstStyle/>
                  <a:p>
                    <a:r>
                      <a:t>205.0</a:t>
                    </a:r>
                  </a:p>
                </c:rich>
              </c:tx>
              <c:showLegendKey val="0"/>
              <c:showVal val="1"/>
              <c:showCatName val="0"/>
              <c:showSerName val="0"/>
              <c:showPercent val="0"/>
              <c:showBubbleSize val="0"/>
            </c:dLbl>
            <c:dLbl>
              <c:idx val="22"/>
              <c:tx>
                <c:rich>
                  <a:bodyPr/>
                  <a:lstStyle/>
                  <a:p>
                    <a:r>
                      <a:t>350.0</a:t>
                    </a:r>
                  </a:p>
                </c:rich>
              </c:tx>
              <c:showLegendKey val="0"/>
              <c:showVal val="1"/>
              <c:showCatName val="0"/>
              <c:showSerName val="0"/>
              <c:showPercent val="0"/>
              <c:showBubbleSize val="0"/>
            </c:dLbl>
            <c:dLbl>
              <c:idx val="23"/>
              <c:tx>
                <c:rich>
                  <a:bodyPr/>
                  <a:lstStyle/>
                  <a:p>
                    <a:r>
                      <a:t>350.0</a:t>
                    </a:r>
                  </a:p>
                </c:rich>
              </c:tx>
              <c:showLegendKey val="0"/>
              <c:showVal val="1"/>
              <c:showCatName val="0"/>
              <c:showSerName val="0"/>
              <c:showPercent val="0"/>
              <c:showBubbleSize val="0"/>
            </c:dLbl>
            <c:dLbl>
              <c:idx val="24"/>
              <c:tx>
                <c:rich>
                  <a:bodyPr/>
                  <a:lstStyle/>
                  <a:p>
                    <a:r>
                      <a:t>125.0</a:t>
                    </a:r>
                  </a:p>
                </c:rich>
              </c:tx>
              <c:showLegendKey val="0"/>
              <c:showVal val="1"/>
              <c:showCatName val="0"/>
              <c:showSerName val="0"/>
              <c:showPercent val="0"/>
              <c:showBubbleSize val="0"/>
            </c:dLbl>
            <c:dLbl>
              <c:idx val="25"/>
              <c:tx>
                <c:rich>
                  <a:bodyPr/>
                  <a:lstStyle/>
                  <a:p>
                    <a:r>
                      <a:t>385.0</a:t>
                    </a:r>
                  </a:p>
                </c:rich>
              </c:tx>
              <c:showLegendKey val="0"/>
              <c:showVal val="1"/>
              <c:showCatName val="0"/>
              <c:showSerName val="0"/>
              <c:showPercent val="0"/>
              <c:showBubbleSize val="0"/>
            </c:dLbl>
            <c:dLbl>
              <c:idx val="26"/>
              <c:tx>
                <c:rich>
                  <a:bodyPr/>
                  <a:lstStyle/>
                  <a:p>
                    <a:r>
                      <a:t>299.0</a:t>
                    </a:r>
                  </a:p>
                </c:rich>
              </c:tx>
              <c:showLegendKey val="0"/>
              <c:showVal val="1"/>
              <c:showCatName val="0"/>
              <c:showSerName val="0"/>
              <c:showPercent val="0"/>
              <c:showBubbleSize val="0"/>
            </c:dLbl>
            <c:dLbl>
              <c:idx val="27"/>
              <c:tx>
                <c:rich>
                  <a:bodyPr/>
                  <a:lstStyle/>
                  <a:p>
                    <a:r>
                      <a:t>205.0</a:t>
                    </a:r>
                  </a:p>
                </c:rich>
              </c:tx>
              <c:showLegendKey val="0"/>
              <c:showVal val="1"/>
              <c:showCatName val="0"/>
              <c:showSerName val="0"/>
              <c:showPercent val="0"/>
              <c:showBubbleSize val="0"/>
            </c:dLbl>
            <c:dLbl>
              <c:idx val="28"/>
              <c:tx>
                <c:rich>
                  <a:bodyPr/>
                  <a:lstStyle/>
                  <a:p>
                    <a:r>
                      <a:t>105.0</a:t>
                    </a:r>
                  </a:p>
                </c:rich>
              </c:tx>
              <c:showLegendKey val="0"/>
              <c:showVal val="1"/>
              <c:showCatName val="0"/>
              <c:showSerName val="0"/>
              <c:showPercent val="0"/>
              <c:showBubbleSize val="0"/>
            </c:dLbl>
            <c:dLbl>
              <c:idx val="29"/>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1</c:f>
              <c:strCache>
                <c:ptCount val="30"/>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Adults Sport Locion 50 180Ml</c:v>
                </c:pt>
                <c:pt idx="11">
                  <c:v>Edgewell Banana Boat Mineral Sunscreen Kids Cosmetics Locion 50 180Ml</c:v>
                </c:pt>
                <c:pt idx="12">
                  <c:v>Edgewell Banana Boat Tanning Tanning Adults Cosmetics Spray Aceite 0 - 5 237Ml</c:v>
                </c:pt>
                <c:pt idx="13">
                  <c:v>Edgewell Beauty Care Antioxidant Sunscreen Adults Cosmetics Liquido 15 - 19 100Ml</c:v>
                </c:pt>
                <c:pt idx="14">
                  <c:v>Edgewell Beauty Care Antioxidant Sunscreen Adults Cosmetics Liquido 50+ 50Ml</c:v>
                </c:pt>
                <c:pt idx="15">
                  <c:v>Edgewell Beauty Care Matte Sunscreen Adults Cosmetics Liquido 30 50Ml</c:v>
                </c:pt>
                <c:pt idx="16">
                  <c:v>Edgewell Beauty Care Sensitive Sunscreen Adults Cosmetics Liquido 50+ 50Ml</c:v>
                </c:pt>
                <c:pt idx="17">
                  <c:v>Edgewell Hawaiian Tropic After Sun After Sun Adults Cosmetics Gel 0 - 5 240Ml</c:v>
                </c:pt>
                <c:pt idx="18">
                  <c:v>Edgewell Hawaiian Tropic Carrot Tanning Adults Cosmetics Crema 10 - 14 240Ml</c:v>
                </c:pt>
                <c:pt idx="19">
                  <c:v>Edgewell Hawaiian Tropic Island Sport Sunscreen Adults Sport Liquido 50 60Ml</c:v>
                </c:pt>
                <c:pt idx="20">
                  <c:v>Edgewell Hawaiian Tropic Other Sunscreen Adults Cosmetics Crema 50+ 240Ml</c:v>
                </c:pt>
                <c:pt idx="21">
                  <c:v>Edgewell Hawaiian Tropic Ozono Sunscreen Adults Cosmetics Liquido 50+ 120Ml</c:v>
                </c:pt>
                <c:pt idx="22">
                  <c:v>Edgewell Hawaiian Tropic Ozono Sunscreen Adults Cosmetics Liquido 50+ 180Ml</c:v>
                </c:pt>
                <c:pt idx="23">
                  <c:v>Edgewell Hawaiian Tropic Ozono Sunscreen Adults Cosmetics Liquido 50+ 240Ml</c:v>
                </c:pt>
                <c:pt idx="24">
                  <c:v>Edgewell Hawaiian Tropic Ozono Sunscreen Adults Cosmetics Liquido 50+ 90Ml</c:v>
                </c:pt>
                <c:pt idx="25">
                  <c:v>Edgewell Hawaiian Tropic Ozono Sunscreen Adults Cosmetics Spray Liquido 50+ 180Ml</c:v>
                </c:pt>
                <c:pt idx="26">
                  <c:v>Edgewell Hawaiian Tropic Sheer Touch Sunscreen Adults Cosmetics Crema 30 - 49 240Ml</c:v>
                </c:pt>
                <c:pt idx="27">
                  <c:v>Edgewell Hawaiian Tropic Sheer Touch Sunscreen Adults Cosmetics Crema 50 120Ml</c:v>
                </c:pt>
                <c:pt idx="28">
                  <c:v>Edgewell Hawaiian Tropic Sheer Touch Sunscreen Adults Cosmetics Liquido 30 - 49 60Ml</c:v>
                </c:pt>
                <c:pt idx="29">
                  <c:v>Edgewell Hawaiian Tropic Tanning Sunscreen Adults Cosmetics Spray Liquido 15 - 19 220Ml</c:v>
                </c:pt>
              </c:strCache>
            </c:strRef>
          </c:cat>
          <c:val>
            <c:numRef>
              <c:f>Sheet1!$B$2:$B$31</c:f>
              <c:numCache>
                <c:formatCode>General</c:formatCode>
                <c:ptCount val="30"/>
                <c:pt idx="0">
                  <c:v>310.0</c:v>
                </c:pt>
                <c:pt idx="1">
                  <c:v>305.0</c:v>
                </c:pt>
                <c:pt idx="2">
                  <c:v>349.0</c:v>
                </c:pt>
                <c:pt idx="3">
                  <c:v>305.0</c:v>
                </c:pt>
                <c:pt idx="4">
                  <c:v>385.0</c:v>
                </c:pt>
                <c:pt idx="5">
                  <c:v>305.0</c:v>
                </c:pt>
                <c:pt idx="6">
                  <c:v>335.0</c:v>
                </c:pt>
                <c:pt idx="7">
                  <c:v>385.0</c:v>
                </c:pt>
                <c:pt idx="8">
                  <c:v>305.0</c:v>
                </c:pt>
                <c:pt idx="9">
                  <c:v>310.0</c:v>
                </c:pt>
                <c:pt idx="10">
                  <c:v>249.0</c:v>
                </c:pt>
                <c:pt idx="11">
                  <c:v>242.0</c:v>
                </c:pt>
                <c:pt idx="12">
                  <c:v>279.0</c:v>
                </c:pt>
                <c:pt idx="13">
                  <c:v>240.0</c:v>
                </c:pt>
                <c:pt idx="14">
                  <c:v>179.0</c:v>
                </c:pt>
                <c:pt idx="15">
                  <c:v>179.0</c:v>
                </c:pt>
                <c:pt idx="16">
                  <c:v>179.0</c:v>
                </c:pt>
                <c:pt idx="17">
                  <c:v>299.0</c:v>
                </c:pt>
                <c:pt idx="18">
                  <c:v>299.0</c:v>
                </c:pt>
                <c:pt idx="19">
                  <c:v>105.0</c:v>
                </c:pt>
                <c:pt idx="20">
                  <c:v>350.0</c:v>
                </c:pt>
                <c:pt idx="21">
                  <c:v>205.0</c:v>
                </c:pt>
                <c:pt idx="22">
                  <c:v>350.0</c:v>
                </c:pt>
                <c:pt idx="23">
                  <c:v>350.0</c:v>
                </c:pt>
                <c:pt idx="24">
                  <c:v>125.0</c:v>
                </c:pt>
                <c:pt idx="25">
                  <c:v>385.0</c:v>
                </c:pt>
                <c:pt idx="26">
                  <c:v>299.0</c:v>
                </c:pt>
                <c:pt idx="27">
                  <c:v>205.0</c:v>
                </c:pt>
                <c:pt idx="28">
                  <c:v>105.0</c:v>
                </c:pt>
                <c:pt idx="29">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7.5</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79.0</a:t>
                    </a:r>
                  </a:p>
                </c:rich>
              </c:tx>
              <c:showLegendKey val="0"/>
              <c:showVal val="1"/>
              <c:showCatName val="0"/>
              <c:showSerName val="0"/>
              <c:showPercent val="0"/>
              <c:showBubbleSize val="0"/>
            </c:dLbl>
            <c:dLbl>
              <c:idx val="14"/>
              <c:tx>
                <c:rich>
                  <a:bodyPr/>
                  <a:lstStyle/>
                  <a:p>
                    <a:r>
                      <a:t>215.0</a:t>
                    </a:r>
                  </a:p>
                </c:rich>
              </c:tx>
              <c:showLegendKey val="0"/>
              <c:showVal val="1"/>
              <c:showCatName val="0"/>
              <c:showSerName val="0"/>
              <c:showPercent val="0"/>
              <c:showBubbleSize val="0"/>
            </c:dLbl>
            <c:dLbl>
              <c:idx val="15"/>
              <c:tx>
                <c:rich>
                  <a:bodyPr/>
                  <a:lstStyle/>
                  <a:p>
                    <a:r>
                      <a:t>179.0</a:t>
                    </a:r>
                  </a:p>
                </c:rich>
              </c:tx>
              <c:showLegendKey val="0"/>
              <c:showVal val="1"/>
              <c:showCatName val="0"/>
              <c:showSerName val="0"/>
              <c:showPercent val="0"/>
              <c:showBubbleSize val="0"/>
            </c:dLbl>
            <c:dLbl>
              <c:idx val="16"/>
              <c:tx>
                <c:rich>
                  <a:bodyPr/>
                  <a:lstStyle/>
                  <a:p>
                    <a:r>
                      <a:t>179.0</a:t>
                    </a:r>
                  </a:p>
                </c:rich>
              </c:tx>
              <c:showLegendKey val="0"/>
              <c:showVal val="1"/>
              <c:showCatName val="0"/>
              <c:showSerName val="0"/>
              <c:showPercent val="0"/>
              <c:showBubbleSize val="0"/>
            </c:dLbl>
            <c:dLbl>
              <c:idx val="17"/>
              <c:tx>
                <c:rich>
                  <a:bodyPr/>
                  <a:lstStyle/>
                  <a:p>
                    <a:r>
                      <a:t>179.0</a:t>
                    </a:r>
                  </a:p>
                </c:rich>
              </c:tx>
              <c:showLegendKey val="0"/>
              <c:showVal val="1"/>
              <c:showCatName val="0"/>
              <c:showSerName val="0"/>
              <c:showPercent val="0"/>
              <c:showBubbleSize val="0"/>
            </c:dLbl>
            <c:dLbl>
              <c:idx val="18"/>
              <c:tx>
                <c:rich>
                  <a:bodyPr/>
                  <a:lstStyle/>
                  <a:p>
                    <a:r>
                      <a:t>299.0</a:t>
                    </a:r>
                  </a:p>
                </c:rich>
              </c:tx>
              <c:showLegendKey val="0"/>
              <c:showVal val="1"/>
              <c:showCatName val="0"/>
              <c:showSerName val="0"/>
              <c:showPercent val="0"/>
              <c:showBubbleSize val="0"/>
            </c:dLbl>
            <c:dLbl>
              <c:idx val="19"/>
              <c:tx>
                <c:rich>
                  <a:bodyPr/>
                  <a:lstStyle/>
                  <a:p>
                    <a:r>
                      <a:t>299.0</a:t>
                    </a:r>
                  </a:p>
                </c:rich>
              </c:tx>
              <c:showLegendKey val="0"/>
              <c:showVal val="1"/>
              <c:showCatName val="0"/>
              <c:showSerName val="0"/>
              <c:showPercent val="0"/>
              <c:showBubbleSize val="0"/>
            </c:dLbl>
            <c:dLbl>
              <c:idx val="20"/>
              <c:tx>
                <c:rich>
                  <a:bodyPr/>
                  <a:lstStyle/>
                  <a:p>
                    <a:r>
                      <a:t>105.0</a:t>
                    </a:r>
                  </a:p>
                </c:rich>
              </c:tx>
              <c:showLegendKey val="0"/>
              <c:showVal val="1"/>
              <c:showCatName val="0"/>
              <c:showSerName val="0"/>
              <c:showPercent val="0"/>
              <c:showBubbleSize val="0"/>
            </c:dLbl>
            <c:dLbl>
              <c:idx val="21"/>
              <c:tx>
                <c:rich>
                  <a:bodyPr/>
                  <a:lstStyle/>
                  <a:p>
                    <a:r>
                      <a:t>350.0</a:t>
                    </a:r>
                  </a:p>
                </c:rich>
              </c:tx>
              <c:showLegendKey val="0"/>
              <c:showVal val="1"/>
              <c:showCatName val="0"/>
              <c:showSerName val="0"/>
              <c:showPercent val="0"/>
              <c:showBubbleSize val="0"/>
            </c:dLbl>
            <c:dLbl>
              <c:idx val="22"/>
              <c:tx>
                <c:rich>
                  <a:bodyPr/>
                  <a:lstStyle/>
                  <a:p>
                    <a:r>
                      <a:t>205.0</a:t>
                    </a:r>
                  </a:p>
                </c:rich>
              </c:tx>
              <c:showLegendKey val="0"/>
              <c:showVal val="1"/>
              <c:showCatName val="0"/>
              <c:showSerName val="0"/>
              <c:showPercent val="0"/>
              <c:showBubbleSize val="0"/>
            </c:dLbl>
            <c:dLbl>
              <c:idx val="23"/>
              <c:tx>
                <c:rich>
                  <a:bodyPr/>
                  <a:lstStyle/>
                  <a:p>
                    <a:r>
                      <a:t>350.0</a:t>
                    </a:r>
                  </a:p>
                </c:rich>
              </c:tx>
              <c:showLegendKey val="0"/>
              <c:showVal val="1"/>
              <c:showCatName val="0"/>
              <c:showSerName val="0"/>
              <c:showPercent val="0"/>
              <c:showBubbleSize val="0"/>
            </c:dLbl>
            <c:dLbl>
              <c:idx val="24"/>
              <c:tx>
                <c:rich>
                  <a:bodyPr/>
                  <a:lstStyle/>
                  <a:p>
                    <a:r>
                      <a:t>350.0</a:t>
                    </a:r>
                  </a:p>
                </c:rich>
              </c:tx>
              <c:showLegendKey val="0"/>
              <c:showVal val="1"/>
              <c:showCatName val="0"/>
              <c:showSerName val="0"/>
              <c:showPercent val="0"/>
              <c:showBubbleSize val="0"/>
            </c:dLbl>
            <c:dLbl>
              <c:idx val="25"/>
              <c:tx>
                <c:rich>
                  <a:bodyPr/>
                  <a:lstStyle/>
                  <a:p>
                    <a:r>
                      <a:t>125.0</a:t>
                    </a:r>
                  </a:p>
                </c:rich>
              </c:tx>
              <c:showLegendKey val="0"/>
              <c:showVal val="1"/>
              <c:showCatName val="0"/>
              <c:showSerName val="0"/>
              <c:showPercent val="0"/>
              <c:showBubbleSize val="0"/>
            </c:dLbl>
            <c:dLbl>
              <c:idx val="26"/>
              <c:tx>
                <c:rich>
                  <a:bodyPr/>
                  <a:lstStyle/>
                  <a:p>
                    <a:r>
                      <a:t>385.0</a:t>
                    </a:r>
                  </a:p>
                </c:rich>
              </c:tx>
              <c:showLegendKey val="0"/>
              <c:showVal val="1"/>
              <c:showCatName val="0"/>
              <c:showSerName val="0"/>
              <c:showPercent val="0"/>
              <c:showBubbleSize val="0"/>
            </c:dLbl>
            <c:dLbl>
              <c:idx val="27"/>
              <c:tx>
                <c:rich>
                  <a:bodyPr/>
                  <a:lstStyle/>
                  <a:p>
                    <a:r>
                      <a:t>299.0</a:t>
                    </a:r>
                  </a:p>
                </c:rich>
              </c:tx>
              <c:showLegendKey val="0"/>
              <c:showVal val="1"/>
              <c:showCatName val="0"/>
              <c:showSerName val="0"/>
              <c:showPercent val="0"/>
              <c:showBubbleSize val="0"/>
            </c:dLbl>
            <c:dLbl>
              <c:idx val="28"/>
              <c:tx>
                <c:rich>
                  <a:bodyPr/>
                  <a:lstStyle/>
                  <a:p>
                    <a:r>
                      <a:t>205.0</a:t>
                    </a:r>
                  </a:p>
                </c:rich>
              </c:tx>
              <c:showLegendKey val="0"/>
              <c:showVal val="1"/>
              <c:showCatName val="0"/>
              <c:showSerName val="0"/>
              <c:showPercent val="0"/>
              <c:showBubbleSize val="0"/>
            </c:dLbl>
            <c:dLbl>
              <c:idx val="29"/>
              <c:tx>
                <c:rich>
                  <a:bodyPr/>
                  <a:lstStyle/>
                  <a:p>
                    <a:r>
                      <a:t>105.0</a:t>
                    </a:r>
                  </a:p>
                </c:rich>
              </c:tx>
              <c:showLegendKey val="0"/>
              <c:showVal val="1"/>
              <c:showCatName val="0"/>
              <c:showSerName val="0"/>
              <c:showPercent val="0"/>
              <c:showBubbleSize val="0"/>
            </c:dLbl>
            <c:dLbl>
              <c:idx val="3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2</c:f>
              <c:strCache>
                <c:ptCount val="31"/>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Tanning Tanning Adults Cosmetics Spray Aceite 0 - 5 237Ml</c:v>
                </c:pt>
                <c:pt idx="14">
                  <c:v>Edgewell Banana Boat Ultra Sunscreen Adults Sport Roll-On 60+ 75Ml</c:v>
                </c:pt>
                <c:pt idx="15">
                  <c:v>Edgewell Beauty Care Antioxidant Sunscreen Adults Cosmetics Liquido 50+ 50Ml</c:v>
                </c:pt>
                <c:pt idx="16">
                  <c:v>Edgewell Beauty Care Matte Sunscreen Adults Cosmetics Liquido 30 50Ml</c:v>
                </c:pt>
                <c:pt idx="17">
                  <c:v>Edgewell Beauty Care Sensitive Sunscreen Adults Cosmetics Liquido 50+ 50Ml</c:v>
                </c:pt>
                <c:pt idx="18">
                  <c:v>Edgewell Hawaiian Tropic After Sun After Sun Adults Cosmetics Gel 0 - 5 240Ml</c:v>
                </c:pt>
                <c:pt idx="19">
                  <c:v>Edgewell Hawaiian Tropic Carrot Tanning Adults Cosmetics Crema 10 - 14 240Ml</c:v>
                </c:pt>
                <c:pt idx="20">
                  <c:v>Edgewell Hawaiian Tropic Island Sport Sunscreen Adults Sport Liquido 50 60Ml</c:v>
                </c:pt>
                <c:pt idx="21">
                  <c:v>Edgewell Hawaiian Tropic Other Sunscreen Adults Cosmetics Crema 50+ 240Ml</c:v>
                </c:pt>
                <c:pt idx="22">
                  <c:v>Edgewell Hawaiian Tropic Ozono Sunscreen Adults Cosmetics Liquido 50+ 120Ml</c:v>
                </c:pt>
                <c:pt idx="23">
                  <c:v>Edgewell Hawaiian Tropic Ozono Sunscreen Adults Cosmetics Liquido 50+ 180Ml</c:v>
                </c:pt>
                <c:pt idx="24">
                  <c:v>Edgewell Hawaiian Tropic Ozono Sunscreen Adults Cosmetics Liquido 50+ 240Ml</c:v>
                </c:pt>
                <c:pt idx="25">
                  <c:v>Edgewell Hawaiian Tropic Ozono Sunscreen Adults Cosmetics Liquido 50+ 90Ml</c:v>
                </c:pt>
                <c:pt idx="26">
                  <c:v>Edgewell Hawaiian Tropic Ozono Sunscreen Adults Cosmetics Spray Liquido 50+ 180Ml</c:v>
                </c:pt>
                <c:pt idx="27">
                  <c:v>Edgewell Hawaiian Tropic Sheer Touch Sunscreen Adults Cosmetics Crema 30 - 49 240Ml</c:v>
                </c:pt>
                <c:pt idx="28">
                  <c:v>Edgewell Hawaiian Tropic Sheer Touch Sunscreen Adults Cosmetics Crema 50 120Ml</c:v>
                </c:pt>
                <c:pt idx="29">
                  <c:v>Edgewell Hawaiian Tropic Sheer Touch Sunscreen Adults Cosmetics Liquido 30 - 49 60Ml</c:v>
                </c:pt>
                <c:pt idx="30">
                  <c:v>Edgewell Hawaiian Tropic Tanning Sunscreen Adults Cosmetics Spray Liquido 15 - 19 220Ml</c:v>
                </c:pt>
              </c:strCache>
            </c:strRef>
          </c:cat>
          <c:val>
            <c:numRef>
              <c:f>Sheet1!$B$2:$B$32</c:f>
              <c:numCache>
                <c:formatCode>General</c:formatCode>
                <c:ptCount val="31"/>
                <c:pt idx="0">
                  <c:v>310.0</c:v>
                </c:pt>
                <c:pt idx="1">
                  <c:v>105.0</c:v>
                </c:pt>
                <c:pt idx="2">
                  <c:v>305.0</c:v>
                </c:pt>
                <c:pt idx="3">
                  <c:v>349.0</c:v>
                </c:pt>
                <c:pt idx="4">
                  <c:v>305.0</c:v>
                </c:pt>
                <c:pt idx="5">
                  <c:v>367.5</c:v>
                </c:pt>
                <c:pt idx="6">
                  <c:v>305.0</c:v>
                </c:pt>
                <c:pt idx="7">
                  <c:v>335.0</c:v>
                </c:pt>
                <c:pt idx="8">
                  <c:v>385.0</c:v>
                </c:pt>
                <c:pt idx="9">
                  <c:v>305.0</c:v>
                </c:pt>
                <c:pt idx="10">
                  <c:v>310.0</c:v>
                </c:pt>
                <c:pt idx="11">
                  <c:v>249.0</c:v>
                </c:pt>
                <c:pt idx="12">
                  <c:v>242.0</c:v>
                </c:pt>
                <c:pt idx="13">
                  <c:v>279.0</c:v>
                </c:pt>
                <c:pt idx="14">
                  <c:v>215.0</c:v>
                </c:pt>
                <c:pt idx="15">
                  <c:v>179.0</c:v>
                </c:pt>
                <c:pt idx="16">
                  <c:v>179.0</c:v>
                </c:pt>
                <c:pt idx="17">
                  <c:v>179.0</c:v>
                </c:pt>
                <c:pt idx="18">
                  <c:v>299.0</c:v>
                </c:pt>
                <c:pt idx="19">
                  <c:v>299.0</c:v>
                </c:pt>
                <c:pt idx="20">
                  <c:v>105.0</c:v>
                </c:pt>
                <c:pt idx="21">
                  <c:v>350.0</c:v>
                </c:pt>
                <c:pt idx="22">
                  <c:v>205.0</c:v>
                </c:pt>
                <c:pt idx="23">
                  <c:v>350.0</c:v>
                </c:pt>
                <c:pt idx="24">
                  <c:v>350.0</c:v>
                </c:pt>
                <c:pt idx="25">
                  <c:v>125.0</c:v>
                </c:pt>
                <c:pt idx="26">
                  <c:v>385.0</c:v>
                </c:pt>
                <c:pt idx="27">
                  <c:v>299.0</c:v>
                </c:pt>
                <c:pt idx="28">
                  <c:v>205.0</c:v>
                </c:pt>
                <c:pt idx="29">
                  <c:v>105.0</c:v>
                </c:pt>
                <c:pt idx="3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eauty Care Sensitive Sunscreen Adults Cosmetics Liquido 50+ 50Ml</c:v>
                </c:pt>
              </c:strCache>
            </c:strRef>
          </c:cat>
          <c:val>
            <c:numRef>
              <c:f>Sheet1!$B$2:$B$2</c:f>
              <c:numCache>
                <c:formatCode>General</c:formatCode>
                <c:ptCount val="1"/>
                <c:pt idx="0">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7.5</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79.0</a:t>
                    </a:r>
                  </a:p>
                </c:rich>
              </c:tx>
              <c:showLegendKey val="0"/>
              <c:showVal val="1"/>
              <c:showCatName val="0"/>
              <c:showSerName val="0"/>
              <c:showPercent val="0"/>
              <c:showBubbleSize val="0"/>
            </c:dLbl>
            <c:dLbl>
              <c:idx val="14"/>
              <c:tx>
                <c:rich>
                  <a:bodyPr/>
                  <a:lstStyle/>
                  <a:p>
                    <a:r>
                      <a:t>215.0</a:t>
                    </a:r>
                  </a:p>
                </c:rich>
              </c:tx>
              <c:showLegendKey val="0"/>
              <c:showVal val="1"/>
              <c:showCatName val="0"/>
              <c:showSerName val="0"/>
              <c:showPercent val="0"/>
              <c:showBubbleSize val="0"/>
            </c:dLbl>
            <c:dLbl>
              <c:idx val="15"/>
              <c:tx>
                <c:rich>
                  <a:bodyPr/>
                  <a:lstStyle/>
                  <a:p>
                    <a:r>
                      <a:t>179.0</a:t>
                    </a:r>
                  </a:p>
                </c:rich>
              </c:tx>
              <c:showLegendKey val="0"/>
              <c:showVal val="1"/>
              <c:showCatName val="0"/>
              <c:showSerName val="0"/>
              <c:showPercent val="0"/>
              <c:showBubbleSize val="0"/>
            </c:dLbl>
            <c:dLbl>
              <c:idx val="16"/>
              <c:tx>
                <c:rich>
                  <a:bodyPr/>
                  <a:lstStyle/>
                  <a:p>
                    <a:r>
                      <a:t>179.0</a:t>
                    </a:r>
                  </a:p>
                </c:rich>
              </c:tx>
              <c:showLegendKey val="0"/>
              <c:showVal val="1"/>
              <c:showCatName val="0"/>
              <c:showSerName val="0"/>
              <c:showPercent val="0"/>
              <c:showBubbleSize val="0"/>
            </c:dLbl>
            <c:dLbl>
              <c:idx val="17"/>
              <c:tx>
                <c:rich>
                  <a:bodyPr/>
                  <a:lstStyle/>
                  <a:p>
                    <a:r>
                      <a:t>179.0</a:t>
                    </a:r>
                  </a:p>
                </c:rich>
              </c:tx>
              <c:showLegendKey val="0"/>
              <c:showVal val="1"/>
              <c:showCatName val="0"/>
              <c:showSerName val="0"/>
              <c:showPercent val="0"/>
              <c:showBubbleSize val="0"/>
            </c:dLbl>
            <c:dLbl>
              <c:idx val="18"/>
              <c:tx>
                <c:rich>
                  <a:bodyPr/>
                  <a:lstStyle/>
                  <a:p>
                    <a:r>
                      <a:t>299.0</a:t>
                    </a:r>
                  </a:p>
                </c:rich>
              </c:tx>
              <c:showLegendKey val="0"/>
              <c:showVal val="1"/>
              <c:showCatName val="0"/>
              <c:showSerName val="0"/>
              <c:showPercent val="0"/>
              <c:showBubbleSize val="0"/>
            </c:dLbl>
            <c:dLbl>
              <c:idx val="19"/>
              <c:tx>
                <c:rich>
                  <a:bodyPr/>
                  <a:lstStyle/>
                  <a:p>
                    <a:r>
                      <a:t>299.0</a:t>
                    </a:r>
                  </a:p>
                </c:rich>
              </c:tx>
              <c:showLegendKey val="0"/>
              <c:showVal val="1"/>
              <c:showCatName val="0"/>
              <c:showSerName val="0"/>
              <c:showPercent val="0"/>
              <c:showBubbleSize val="0"/>
            </c:dLbl>
            <c:dLbl>
              <c:idx val="20"/>
              <c:tx>
                <c:rich>
                  <a:bodyPr/>
                  <a:lstStyle/>
                  <a:p>
                    <a:r>
                      <a:t>105.0</a:t>
                    </a:r>
                  </a:p>
                </c:rich>
              </c:tx>
              <c:showLegendKey val="0"/>
              <c:showVal val="1"/>
              <c:showCatName val="0"/>
              <c:showSerName val="0"/>
              <c:showPercent val="0"/>
              <c:showBubbleSize val="0"/>
            </c:dLbl>
            <c:dLbl>
              <c:idx val="21"/>
              <c:tx>
                <c:rich>
                  <a:bodyPr/>
                  <a:lstStyle/>
                  <a:p>
                    <a:r>
                      <a:t>350.0</a:t>
                    </a:r>
                  </a:p>
                </c:rich>
              </c:tx>
              <c:showLegendKey val="0"/>
              <c:showVal val="1"/>
              <c:showCatName val="0"/>
              <c:showSerName val="0"/>
              <c:showPercent val="0"/>
              <c:showBubbleSize val="0"/>
            </c:dLbl>
            <c:dLbl>
              <c:idx val="22"/>
              <c:tx>
                <c:rich>
                  <a:bodyPr/>
                  <a:lstStyle/>
                  <a:p>
                    <a:r>
                      <a:t>205.0</a:t>
                    </a:r>
                  </a:p>
                </c:rich>
              </c:tx>
              <c:showLegendKey val="0"/>
              <c:showVal val="1"/>
              <c:showCatName val="0"/>
              <c:showSerName val="0"/>
              <c:showPercent val="0"/>
              <c:showBubbleSize val="0"/>
            </c:dLbl>
            <c:dLbl>
              <c:idx val="23"/>
              <c:tx>
                <c:rich>
                  <a:bodyPr/>
                  <a:lstStyle/>
                  <a:p>
                    <a:r>
                      <a:t>350.0</a:t>
                    </a:r>
                  </a:p>
                </c:rich>
              </c:tx>
              <c:showLegendKey val="0"/>
              <c:showVal val="1"/>
              <c:showCatName val="0"/>
              <c:showSerName val="0"/>
              <c:showPercent val="0"/>
              <c:showBubbleSize val="0"/>
            </c:dLbl>
            <c:dLbl>
              <c:idx val="24"/>
              <c:tx>
                <c:rich>
                  <a:bodyPr/>
                  <a:lstStyle/>
                  <a:p>
                    <a:r>
                      <a:t>350.0</a:t>
                    </a:r>
                  </a:p>
                </c:rich>
              </c:tx>
              <c:showLegendKey val="0"/>
              <c:showVal val="1"/>
              <c:showCatName val="0"/>
              <c:showSerName val="0"/>
              <c:showPercent val="0"/>
              <c:showBubbleSize val="0"/>
            </c:dLbl>
            <c:dLbl>
              <c:idx val="25"/>
              <c:tx>
                <c:rich>
                  <a:bodyPr/>
                  <a:lstStyle/>
                  <a:p>
                    <a:r>
                      <a:t>125.0</a:t>
                    </a:r>
                  </a:p>
                </c:rich>
              </c:tx>
              <c:showLegendKey val="0"/>
              <c:showVal val="1"/>
              <c:showCatName val="0"/>
              <c:showSerName val="0"/>
              <c:showPercent val="0"/>
              <c:showBubbleSize val="0"/>
            </c:dLbl>
            <c:dLbl>
              <c:idx val="26"/>
              <c:tx>
                <c:rich>
                  <a:bodyPr/>
                  <a:lstStyle/>
                  <a:p>
                    <a:r>
                      <a:t>385.0</a:t>
                    </a:r>
                  </a:p>
                </c:rich>
              </c:tx>
              <c:showLegendKey val="0"/>
              <c:showVal val="1"/>
              <c:showCatName val="0"/>
              <c:showSerName val="0"/>
              <c:showPercent val="0"/>
              <c:showBubbleSize val="0"/>
            </c:dLbl>
            <c:dLbl>
              <c:idx val="27"/>
              <c:tx>
                <c:rich>
                  <a:bodyPr/>
                  <a:lstStyle/>
                  <a:p>
                    <a:r>
                      <a:t>299.0</a:t>
                    </a:r>
                  </a:p>
                </c:rich>
              </c:tx>
              <c:showLegendKey val="0"/>
              <c:showVal val="1"/>
              <c:showCatName val="0"/>
              <c:showSerName val="0"/>
              <c:showPercent val="0"/>
              <c:showBubbleSize val="0"/>
            </c:dLbl>
            <c:dLbl>
              <c:idx val="28"/>
              <c:tx>
                <c:rich>
                  <a:bodyPr/>
                  <a:lstStyle/>
                  <a:p>
                    <a:r>
                      <a:t>205.0</a:t>
                    </a:r>
                  </a:p>
                </c:rich>
              </c:tx>
              <c:showLegendKey val="0"/>
              <c:showVal val="1"/>
              <c:showCatName val="0"/>
              <c:showSerName val="0"/>
              <c:showPercent val="0"/>
              <c:showBubbleSize val="0"/>
            </c:dLbl>
            <c:dLbl>
              <c:idx val="29"/>
              <c:tx>
                <c:rich>
                  <a:bodyPr/>
                  <a:lstStyle/>
                  <a:p>
                    <a:r>
                      <a:t>105.0</a:t>
                    </a:r>
                  </a:p>
                </c:rich>
              </c:tx>
              <c:showLegendKey val="0"/>
              <c:showVal val="1"/>
              <c:showCatName val="0"/>
              <c:showSerName val="0"/>
              <c:showPercent val="0"/>
              <c:showBubbleSize val="0"/>
            </c:dLbl>
            <c:dLbl>
              <c:idx val="3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2</c:f>
              <c:strCache>
                <c:ptCount val="31"/>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Tanning Tanning Adults Cosmetics Spray Aceite 0 - 5 237Ml</c:v>
                </c:pt>
                <c:pt idx="14">
                  <c:v>Edgewell Banana Boat Ultra Sunscreen Adults Sport Roll-On 60+ 75Ml</c:v>
                </c:pt>
                <c:pt idx="15">
                  <c:v>Edgewell Beauty Care Antioxidant Sunscreen Adults Cosmetics Liquido 50+ 50Ml</c:v>
                </c:pt>
                <c:pt idx="16">
                  <c:v>Edgewell Beauty Care Matte Sunscreen Adults Cosmetics Liquido 30 50Ml</c:v>
                </c:pt>
                <c:pt idx="17">
                  <c:v>Edgewell Beauty Care Sensitive Sunscreen Adults Cosmetics Liquido 50+ 50Ml</c:v>
                </c:pt>
                <c:pt idx="18">
                  <c:v>Edgewell Hawaiian Tropic After Sun After Sun Adults Cosmetics Gel 0 - 5 240Ml</c:v>
                </c:pt>
                <c:pt idx="19">
                  <c:v>Edgewell Hawaiian Tropic Carrot Tanning Adults Cosmetics Crema 10 - 14 240Ml</c:v>
                </c:pt>
                <c:pt idx="20">
                  <c:v>Edgewell Hawaiian Tropic Island Sport Sunscreen Adults Sport Liquido 50 60Ml</c:v>
                </c:pt>
                <c:pt idx="21">
                  <c:v>Edgewell Hawaiian Tropic Other Sunscreen Adults Cosmetics Crema 50+ 240Ml</c:v>
                </c:pt>
                <c:pt idx="22">
                  <c:v>Edgewell Hawaiian Tropic Ozono Sunscreen Adults Cosmetics Liquido 50+ 120Ml</c:v>
                </c:pt>
                <c:pt idx="23">
                  <c:v>Edgewell Hawaiian Tropic Ozono Sunscreen Adults Cosmetics Liquido 50+ 180Ml</c:v>
                </c:pt>
                <c:pt idx="24">
                  <c:v>Edgewell Hawaiian Tropic Ozono Sunscreen Adults Cosmetics Liquido 50+ 240Ml</c:v>
                </c:pt>
                <c:pt idx="25">
                  <c:v>Edgewell Hawaiian Tropic Ozono Sunscreen Adults Cosmetics Liquido 50+ 90Ml</c:v>
                </c:pt>
                <c:pt idx="26">
                  <c:v>Edgewell Hawaiian Tropic Ozono Sunscreen Adults Cosmetics Spray Liquido 50+ 180Ml</c:v>
                </c:pt>
                <c:pt idx="27">
                  <c:v>Edgewell Hawaiian Tropic Sheer Touch Sunscreen Adults Cosmetics Crema 30 - 49 240Ml</c:v>
                </c:pt>
                <c:pt idx="28">
                  <c:v>Edgewell Hawaiian Tropic Sheer Touch Sunscreen Adults Cosmetics Crema 50 120Ml</c:v>
                </c:pt>
                <c:pt idx="29">
                  <c:v>Edgewell Hawaiian Tropic Sheer Touch Sunscreen Adults Cosmetics Liquido 30 - 49 60Ml</c:v>
                </c:pt>
                <c:pt idx="30">
                  <c:v>Edgewell Hawaiian Tropic Tanning Sunscreen Adults Cosmetics Spray Liquido 15 - 19 220Ml</c:v>
                </c:pt>
              </c:strCache>
            </c:strRef>
          </c:cat>
          <c:val>
            <c:numRef>
              <c:f>Sheet1!$B$2:$B$32</c:f>
              <c:numCache>
                <c:formatCode>General</c:formatCode>
                <c:ptCount val="31"/>
                <c:pt idx="0">
                  <c:v>310.0</c:v>
                </c:pt>
                <c:pt idx="1">
                  <c:v>105.0</c:v>
                </c:pt>
                <c:pt idx="2">
                  <c:v>305.0</c:v>
                </c:pt>
                <c:pt idx="3">
                  <c:v>349.0</c:v>
                </c:pt>
                <c:pt idx="4">
                  <c:v>305.0</c:v>
                </c:pt>
                <c:pt idx="5">
                  <c:v>367.5</c:v>
                </c:pt>
                <c:pt idx="6">
                  <c:v>305.0</c:v>
                </c:pt>
                <c:pt idx="7">
                  <c:v>335.0</c:v>
                </c:pt>
                <c:pt idx="8">
                  <c:v>385.0</c:v>
                </c:pt>
                <c:pt idx="9">
                  <c:v>305.0</c:v>
                </c:pt>
                <c:pt idx="10">
                  <c:v>310.0</c:v>
                </c:pt>
                <c:pt idx="11">
                  <c:v>249.0</c:v>
                </c:pt>
                <c:pt idx="12">
                  <c:v>242.0</c:v>
                </c:pt>
                <c:pt idx="13">
                  <c:v>279.0</c:v>
                </c:pt>
                <c:pt idx="14">
                  <c:v>215.0</c:v>
                </c:pt>
                <c:pt idx="15">
                  <c:v>179.0</c:v>
                </c:pt>
                <c:pt idx="16">
                  <c:v>179.0</c:v>
                </c:pt>
                <c:pt idx="17">
                  <c:v>179.0</c:v>
                </c:pt>
                <c:pt idx="18">
                  <c:v>299.0</c:v>
                </c:pt>
                <c:pt idx="19">
                  <c:v>299.0</c:v>
                </c:pt>
                <c:pt idx="20">
                  <c:v>105.0</c:v>
                </c:pt>
                <c:pt idx="21">
                  <c:v>350.0</c:v>
                </c:pt>
                <c:pt idx="22">
                  <c:v>205.0</c:v>
                </c:pt>
                <c:pt idx="23">
                  <c:v>350.0</c:v>
                </c:pt>
                <c:pt idx="24">
                  <c:v>350.0</c:v>
                </c:pt>
                <c:pt idx="25">
                  <c:v>125.0</c:v>
                </c:pt>
                <c:pt idx="26">
                  <c:v>385.0</c:v>
                </c:pt>
                <c:pt idx="27">
                  <c:v>299.0</c:v>
                </c:pt>
                <c:pt idx="28">
                  <c:v>205.0</c:v>
                </c:pt>
                <c:pt idx="29">
                  <c:v>105.0</c:v>
                </c:pt>
                <c:pt idx="3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7.5</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79.0</a:t>
                    </a:r>
                  </a:p>
                </c:rich>
              </c:tx>
              <c:showLegendKey val="0"/>
              <c:showVal val="1"/>
              <c:showCatName val="0"/>
              <c:showSerName val="0"/>
              <c:showPercent val="0"/>
              <c:showBubbleSize val="0"/>
            </c:dLbl>
            <c:dLbl>
              <c:idx val="12"/>
              <c:tx>
                <c:rich>
                  <a:bodyPr/>
                  <a:lstStyle/>
                  <a:p>
                    <a:r>
                      <a:t>179.0</a:t>
                    </a:r>
                  </a:p>
                </c:rich>
              </c:tx>
              <c:showLegendKey val="0"/>
              <c:showVal val="1"/>
              <c:showCatName val="0"/>
              <c:showSerName val="0"/>
              <c:showPercent val="0"/>
              <c:showBubbleSize val="0"/>
            </c:dLbl>
            <c:dLbl>
              <c:idx val="13"/>
              <c:tx>
                <c:rich>
                  <a:bodyPr/>
                  <a:lstStyle/>
                  <a:p>
                    <a:r>
                      <a:t>179.0</a:t>
                    </a:r>
                  </a:p>
                </c:rich>
              </c:tx>
              <c:showLegendKey val="0"/>
              <c:showVal val="1"/>
              <c:showCatName val="0"/>
              <c:showSerName val="0"/>
              <c:showPercent val="0"/>
              <c:showBubbleSize val="0"/>
            </c:dLbl>
            <c:dLbl>
              <c:idx val="14"/>
              <c:tx>
                <c:rich>
                  <a:bodyPr/>
                  <a:lstStyle/>
                  <a:p>
                    <a:r>
                      <a:t>299.0</a:t>
                    </a:r>
                  </a:p>
                </c:rich>
              </c:tx>
              <c:showLegendKey val="0"/>
              <c:showVal val="1"/>
              <c:showCatName val="0"/>
              <c:showSerName val="0"/>
              <c:showPercent val="0"/>
              <c:showBubbleSize val="0"/>
            </c:dLbl>
            <c:dLbl>
              <c:idx val="15"/>
              <c:tx>
                <c:rich>
                  <a:bodyPr/>
                  <a:lstStyle/>
                  <a:p>
                    <a:r>
                      <a:t>105.0</a:t>
                    </a:r>
                  </a:p>
                </c:rich>
              </c:tx>
              <c:showLegendKey val="0"/>
              <c:showVal val="1"/>
              <c:showCatName val="0"/>
              <c:showSerName val="0"/>
              <c:showPercent val="0"/>
              <c:showBubbleSize val="0"/>
            </c:dLbl>
            <c:dLbl>
              <c:idx val="16"/>
              <c:tx>
                <c:rich>
                  <a:bodyPr/>
                  <a:lstStyle/>
                  <a:p>
                    <a:r>
                      <a:t>350.0</a:t>
                    </a:r>
                  </a:p>
                </c:rich>
              </c:tx>
              <c:showLegendKey val="0"/>
              <c:showVal val="1"/>
              <c:showCatName val="0"/>
              <c:showSerName val="0"/>
              <c:showPercent val="0"/>
              <c:showBubbleSize val="0"/>
            </c:dLbl>
            <c:dLbl>
              <c:idx val="17"/>
              <c:tx>
                <c:rich>
                  <a:bodyPr/>
                  <a:lstStyle/>
                  <a:p>
                    <a:r>
                      <a:t>205.0</a:t>
                    </a:r>
                  </a:p>
                </c:rich>
              </c:tx>
              <c:showLegendKey val="0"/>
              <c:showVal val="1"/>
              <c:showCatName val="0"/>
              <c:showSerName val="0"/>
              <c:showPercent val="0"/>
              <c:showBubbleSize val="0"/>
            </c:dLbl>
            <c:dLbl>
              <c:idx val="18"/>
              <c:tx>
                <c:rich>
                  <a:bodyPr/>
                  <a:lstStyle/>
                  <a:p>
                    <a:r>
                      <a:t>350.0</a:t>
                    </a:r>
                  </a:p>
                </c:rich>
              </c:tx>
              <c:showLegendKey val="0"/>
              <c:showVal val="1"/>
              <c:showCatName val="0"/>
              <c:showSerName val="0"/>
              <c:showPercent val="0"/>
              <c:showBubbleSize val="0"/>
            </c:dLbl>
            <c:dLbl>
              <c:idx val="19"/>
              <c:tx>
                <c:rich>
                  <a:bodyPr/>
                  <a:lstStyle/>
                  <a:p>
                    <a:r>
                      <a:t>125.0</a:t>
                    </a:r>
                  </a:p>
                </c:rich>
              </c:tx>
              <c:showLegendKey val="0"/>
              <c:showVal val="1"/>
              <c:showCatName val="0"/>
              <c:showSerName val="0"/>
              <c:showPercent val="0"/>
              <c:showBubbleSize val="0"/>
            </c:dLbl>
            <c:dLbl>
              <c:idx val="20"/>
              <c:tx>
                <c:rich>
                  <a:bodyPr/>
                  <a:lstStyle/>
                  <a:p>
                    <a:r>
                      <a:t>385.0</a:t>
                    </a:r>
                  </a:p>
                </c:rich>
              </c:tx>
              <c:showLegendKey val="0"/>
              <c:showVal val="1"/>
              <c:showCatName val="0"/>
              <c:showSerName val="0"/>
              <c:showPercent val="0"/>
              <c:showBubbleSize val="0"/>
            </c:dLbl>
            <c:dLbl>
              <c:idx val="21"/>
              <c:tx>
                <c:rich>
                  <a:bodyPr/>
                  <a:lstStyle/>
                  <a:p>
                    <a:r>
                      <a:t>299.0</a:t>
                    </a:r>
                  </a:p>
                </c:rich>
              </c:tx>
              <c:showLegendKey val="0"/>
              <c:showVal val="1"/>
              <c:showCatName val="0"/>
              <c:showSerName val="0"/>
              <c:showPercent val="0"/>
              <c:showBubbleSize val="0"/>
            </c:dLbl>
            <c:dLbl>
              <c:idx val="22"/>
              <c:tx>
                <c:rich>
                  <a:bodyPr/>
                  <a:lstStyle/>
                  <a:p>
                    <a:r>
                      <a:t>205.0</a:t>
                    </a:r>
                  </a:p>
                </c:rich>
              </c:tx>
              <c:showLegendKey val="0"/>
              <c:showVal val="1"/>
              <c:showCatName val="0"/>
              <c:showSerName val="0"/>
              <c:showPercent val="0"/>
              <c:showBubbleSize val="0"/>
            </c:dLbl>
            <c:dLbl>
              <c:idx val="23"/>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Tanning Tanning Adults Cosmetics Spray Aceite 0 - 5 237Ml</c:v>
                </c:pt>
                <c:pt idx="12">
                  <c:v>Edgewell Beauty Care Antioxidant Sunscreen Adults Cosmetics Liquido 50+ 50Ml</c:v>
                </c:pt>
                <c:pt idx="13">
                  <c:v>Edgewell Beauty Care Sensitive Sunscreen Adults Cosmetics Liquido 50+ 50Ml</c:v>
                </c:pt>
                <c:pt idx="14">
                  <c:v>Edgewell Hawaiian Tropic Carrot Tanning Adults Cosmetics Crema 10 - 14 240Ml</c:v>
                </c:pt>
                <c:pt idx="15">
                  <c:v>Edgewell Hawaiian Tropic Island Sport Sunscreen Adults Sport Liquido 50 60Ml</c:v>
                </c:pt>
                <c:pt idx="16">
                  <c:v>Edgewell Hawaiian Tropic Other Sunscreen Adults Cosmetics Crema 50+ 240Ml</c:v>
                </c:pt>
                <c:pt idx="17">
                  <c:v>Edgewell Hawaiian Tropic Ozono Sunscreen Adults Cosmetics Liquido 50+ 120Ml</c:v>
                </c:pt>
                <c:pt idx="18">
                  <c:v>Edgewell Hawaiian Tropic Ozono Sunscreen Adults Cosmetics Liquido 50+ 240Ml</c:v>
                </c:pt>
                <c:pt idx="19">
                  <c:v>Edgewell Hawaiian Tropic Ozono Sunscreen Adults Cosmetics Liquido 50+ 90Ml</c:v>
                </c:pt>
                <c:pt idx="20">
                  <c:v>Edgewell Hawaiian Tropic Ozono Sunscreen Adults Cosmetics Spray Liquido 50+ 180Ml</c:v>
                </c:pt>
                <c:pt idx="21">
                  <c:v>Edgewell Hawaiian Tropic Sheer Touch Sunscreen Adults Cosmetics Crema 30 - 49 240Ml</c:v>
                </c:pt>
                <c:pt idx="22">
                  <c:v>Edgewell Hawaiian Tropic Sheer Touch Sunscreen Adults Cosmetics Crema 50 120Ml</c:v>
                </c:pt>
                <c:pt idx="23">
                  <c:v>Edgewell Hawaiian Tropic Sheer Touch Sunscreen Adults Cosmetics Liquido 30 - 49 60Ml</c:v>
                </c:pt>
              </c:strCache>
            </c:strRef>
          </c:cat>
          <c:val>
            <c:numRef>
              <c:f>Sheet1!$B$2:$B$25</c:f>
              <c:numCache>
                <c:formatCode>General</c:formatCode>
                <c:ptCount val="24"/>
                <c:pt idx="0">
                  <c:v>310.0</c:v>
                </c:pt>
                <c:pt idx="1">
                  <c:v>105.0</c:v>
                </c:pt>
                <c:pt idx="2">
                  <c:v>305.0</c:v>
                </c:pt>
                <c:pt idx="3">
                  <c:v>349.0</c:v>
                </c:pt>
                <c:pt idx="4">
                  <c:v>305.0</c:v>
                </c:pt>
                <c:pt idx="5">
                  <c:v>367.5</c:v>
                </c:pt>
                <c:pt idx="6">
                  <c:v>305.0</c:v>
                </c:pt>
                <c:pt idx="7">
                  <c:v>335.0</c:v>
                </c:pt>
                <c:pt idx="8">
                  <c:v>385.0</c:v>
                </c:pt>
                <c:pt idx="9">
                  <c:v>305.0</c:v>
                </c:pt>
                <c:pt idx="10">
                  <c:v>310.0</c:v>
                </c:pt>
                <c:pt idx="11">
                  <c:v>279.0</c:v>
                </c:pt>
                <c:pt idx="12">
                  <c:v>179.0</c:v>
                </c:pt>
                <c:pt idx="13">
                  <c:v>179.0</c:v>
                </c:pt>
                <c:pt idx="14">
                  <c:v>299.0</c:v>
                </c:pt>
                <c:pt idx="15">
                  <c:v>105.0</c:v>
                </c:pt>
                <c:pt idx="16">
                  <c:v>350.0</c:v>
                </c:pt>
                <c:pt idx="17">
                  <c:v>205.0</c:v>
                </c:pt>
                <c:pt idx="18">
                  <c:v>350.0</c:v>
                </c:pt>
                <c:pt idx="19">
                  <c:v>125.0</c:v>
                </c:pt>
                <c:pt idx="20">
                  <c:v>385.0</c:v>
                </c:pt>
                <c:pt idx="21">
                  <c:v>299.0</c:v>
                </c:pt>
                <c:pt idx="22">
                  <c:v>205.0</c:v>
                </c:pt>
                <c:pt idx="23">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279.0</a:t>
                    </a:r>
                  </a:p>
                </c:rich>
              </c:tx>
              <c:showLegendKey val="0"/>
              <c:showVal val="1"/>
              <c:showCatName val="0"/>
              <c:showSerName val="0"/>
              <c:showPercent val="0"/>
              <c:showBubbleSize val="0"/>
            </c:dLbl>
            <c:dLbl>
              <c:idx val="6"/>
              <c:tx>
                <c:rich>
                  <a:bodyPr/>
                  <a:lstStyle/>
                  <a:p>
                    <a:r>
                      <a:t>179.0</a:t>
                    </a:r>
                  </a:p>
                </c:rich>
              </c:tx>
              <c:showLegendKey val="0"/>
              <c:showVal val="1"/>
              <c:showCatName val="0"/>
              <c:showSerName val="0"/>
              <c:showPercent val="0"/>
              <c:showBubbleSize val="0"/>
            </c:dLbl>
            <c:dLbl>
              <c:idx val="7"/>
              <c:tx>
                <c:rich>
                  <a:bodyPr/>
                  <a:lstStyle/>
                  <a:p>
                    <a:r>
                      <a:t>350.0</a:t>
                    </a:r>
                  </a:p>
                </c:rich>
              </c:tx>
              <c:showLegendKey val="0"/>
              <c:showVal val="1"/>
              <c:showCatName val="0"/>
              <c:showSerName val="0"/>
              <c:showPercent val="0"/>
              <c:showBubbleSize val="0"/>
            </c:dLbl>
            <c:dLbl>
              <c:idx val="8"/>
              <c:tx>
                <c:rich>
                  <a:bodyPr/>
                  <a:lstStyle/>
                  <a:p>
                    <a:r>
                      <a:t>350.0</a:t>
                    </a:r>
                  </a:p>
                </c:rich>
              </c:tx>
              <c:showLegendKey val="0"/>
              <c:showVal val="1"/>
              <c:showCatName val="0"/>
              <c:showSerName val="0"/>
              <c:showPercent val="0"/>
              <c:showBubbleSize val="0"/>
            </c:dLbl>
            <c:dLbl>
              <c:idx val="9"/>
              <c:tx>
                <c:rich>
                  <a:bodyPr/>
                  <a:lstStyle/>
                  <a:p>
                    <a:r>
                      <a:t>125.0</a:t>
                    </a:r>
                  </a:p>
                </c:rich>
              </c:tx>
              <c:showLegendKey val="0"/>
              <c:showVal val="1"/>
              <c:showCatName val="0"/>
              <c:showSerName val="0"/>
              <c:showPercent val="0"/>
              <c:showBubbleSize val="0"/>
            </c:dLbl>
            <c:dLbl>
              <c:idx val="10"/>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anana Boat Advanced Protection Sunscreen Adults Cosmetics Liquido 50+ 240Ml</c:v>
                </c:pt>
                <c:pt idx="1">
                  <c:v>Edgewell Banana Boat Aqua Protect Sunscreen Adults Cosmetics Crema 50+ 236Ml</c:v>
                </c:pt>
                <c:pt idx="2">
                  <c:v>Edgewell Banana Boat Aqua Protect Sunscreen Adults Sport Crema 50+ 236Ml</c:v>
                </c:pt>
                <c:pt idx="3">
                  <c:v>Edgewell Banana Boat Banded Pack Banded Pack 2X Sunscreen Multi 50+ 236Ml</c:v>
                </c:pt>
                <c:pt idx="4">
                  <c:v>Edgewell Banana Boat Dry Balance Sunscreen Adults Sport Crema 50+ 180Ml</c:v>
                </c:pt>
                <c:pt idx="5">
                  <c:v>Edgewell Banana Boat Tanning Tanning Adults Cosmetics Spray Aceite 0 - 5 237Ml</c:v>
                </c:pt>
                <c:pt idx="6">
                  <c:v>Edgewell Beauty Care Sensitive Sunscreen Adults Cosmetics Liquido 50+ 50Ml</c:v>
                </c:pt>
                <c:pt idx="7">
                  <c:v>Edgewell Hawaiian Tropic Other Sunscreen Adults Cosmetics Crema 50+ 240Ml</c:v>
                </c:pt>
                <c:pt idx="8">
                  <c:v>Edgewell Hawaiian Tropic Ozono Sunscreen Adults Cosmetics Liquido 50+ 240Ml</c:v>
                </c:pt>
                <c:pt idx="9">
                  <c:v>Edgewell Hawaiian Tropic Ozono Sunscreen Adults Cosmetics Liquido 50+ 90Ml</c:v>
                </c:pt>
                <c:pt idx="10">
                  <c:v>Edgewell Hawaiian Tropic Sheer Touch Sunscreen Adults Cosmetics Crema 50 120Ml</c:v>
                </c:pt>
              </c:strCache>
            </c:strRef>
          </c:cat>
          <c:val>
            <c:numRef>
              <c:f>Sheet1!$B$2:$B$12</c:f>
              <c:numCache>
                <c:formatCode>General</c:formatCode>
                <c:ptCount val="11"/>
                <c:pt idx="0">
                  <c:v>310.0</c:v>
                </c:pt>
                <c:pt idx="1">
                  <c:v>305.0</c:v>
                </c:pt>
                <c:pt idx="2">
                  <c:v>305.0</c:v>
                </c:pt>
                <c:pt idx="3">
                  <c:v>305.0</c:v>
                </c:pt>
                <c:pt idx="4">
                  <c:v>335.0</c:v>
                </c:pt>
                <c:pt idx="5">
                  <c:v>279.0</c:v>
                </c:pt>
                <c:pt idx="6">
                  <c:v>179.0</c:v>
                </c:pt>
                <c:pt idx="7">
                  <c:v>350.0</c:v>
                </c:pt>
                <c:pt idx="8">
                  <c:v>350.0</c:v>
                </c:pt>
                <c:pt idx="9">
                  <c:v>125.0</c:v>
                </c:pt>
                <c:pt idx="10">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242.0</a:t>
                    </a:r>
                  </a:p>
                </c:rich>
              </c:tx>
              <c:showLegendKey val="0"/>
              <c:showVal val="1"/>
              <c:showCatName val="0"/>
              <c:showSerName val="0"/>
              <c:showPercent val="0"/>
              <c:showBubbleSize val="0"/>
            </c:dLbl>
            <c:dLbl>
              <c:idx val="10"/>
              <c:tx>
                <c:rich>
                  <a:bodyPr/>
                  <a:lstStyle/>
                  <a:p>
                    <a:r>
                      <a:t>279.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79.0</a:t>
                    </a:r>
                  </a:p>
                </c:rich>
              </c:tx>
              <c:showLegendKey val="0"/>
              <c:showVal val="1"/>
              <c:showCatName val="0"/>
              <c:showSerName val="0"/>
              <c:showPercent val="0"/>
              <c:showBubbleSize val="0"/>
            </c:dLbl>
            <c:dLbl>
              <c:idx val="13"/>
              <c:tx>
                <c:rich>
                  <a:bodyPr/>
                  <a:lstStyle/>
                  <a:p>
                    <a:r>
                      <a:t>179.0</a:t>
                    </a:r>
                  </a:p>
                </c:rich>
              </c:tx>
              <c:showLegendKey val="0"/>
              <c:showVal val="1"/>
              <c:showCatName val="0"/>
              <c:showSerName val="0"/>
              <c:showPercent val="0"/>
              <c:showBubbleSize val="0"/>
            </c:dLbl>
            <c:dLbl>
              <c:idx val="14"/>
              <c:tx>
                <c:rich>
                  <a:bodyPr/>
                  <a:lstStyle/>
                  <a:p>
                    <a:r>
                      <a:t>299.0</a:t>
                    </a:r>
                  </a:p>
                </c:rich>
              </c:tx>
              <c:showLegendKey val="0"/>
              <c:showVal val="1"/>
              <c:showCatName val="0"/>
              <c:showSerName val="0"/>
              <c:showPercent val="0"/>
              <c:showBubbleSize val="0"/>
            </c:dLbl>
            <c:dLbl>
              <c:idx val="15"/>
              <c:tx>
                <c:rich>
                  <a:bodyPr/>
                  <a:lstStyle/>
                  <a:p>
                    <a:r>
                      <a:t>299.0</a:t>
                    </a:r>
                  </a:p>
                </c:rich>
              </c:tx>
              <c:showLegendKey val="0"/>
              <c:showVal val="1"/>
              <c:showCatName val="0"/>
              <c:showSerName val="0"/>
              <c:showPercent val="0"/>
              <c:showBubbleSize val="0"/>
            </c:dLbl>
            <c:dLbl>
              <c:idx val="16"/>
              <c:tx>
                <c:rich>
                  <a:bodyPr/>
                  <a:lstStyle/>
                  <a:p>
                    <a:r>
                      <a:t>105.0</a:t>
                    </a:r>
                  </a:p>
                </c:rich>
              </c:tx>
              <c:showLegendKey val="0"/>
              <c:showVal val="1"/>
              <c:showCatName val="0"/>
              <c:showSerName val="0"/>
              <c:showPercent val="0"/>
              <c:showBubbleSize val="0"/>
            </c:dLbl>
            <c:dLbl>
              <c:idx val="17"/>
              <c:tx>
                <c:rich>
                  <a:bodyPr/>
                  <a:lstStyle/>
                  <a:p>
                    <a:r>
                      <a:t>350.0</a:t>
                    </a:r>
                  </a:p>
                </c:rich>
              </c:tx>
              <c:showLegendKey val="0"/>
              <c:showVal val="1"/>
              <c:showCatName val="0"/>
              <c:showSerName val="0"/>
              <c:showPercent val="0"/>
              <c:showBubbleSize val="0"/>
            </c:dLbl>
            <c:dLbl>
              <c:idx val="18"/>
              <c:tx>
                <c:rich>
                  <a:bodyPr/>
                  <a:lstStyle/>
                  <a:p>
                    <a:r>
                      <a:t>205.0</a:t>
                    </a:r>
                  </a:p>
                </c:rich>
              </c:tx>
              <c:showLegendKey val="0"/>
              <c:showVal val="1"/>
              <c:showCatName val="0"/>
              <c:showSerName val="0"/>
              <c:showPercent val="0"/>
              <c:showBubbleSize val="0"/>
            </c:dLbl>
            <c:dLbl>
              <c:idx val="19"/>
              <c:tx>
                <c:rich>
                  <a:bodyPr/>
                  <a:lstStyle/>
                  <a:p>
                    <a:r>
                      <a:t>350.0</a:t>
                    </a:r>
                  </a:p>
                </c:rich>
              </c:tx>
              <c:showLegendKey val="0"/>
              <c:showVal val="1"/>
              <c:showCatName val="0"/>
              <c:showSerName val="0"/>
              <c:showPercent val="0"/>
              <c:showBubbleSize val="0"/>
            </c:dLbl>
            <c:dLbl>
              <c:idx val="20"/>
              <c:tx>
                <c:rich>
                  <a:bodyPr/>
                  <a:lstStyle/>
                  <a:p>
                    <a:r>
                      <a:t>125.0</a:t>
                    </a:r>
                  </a:p>
                </c:rich>
              </c:tx>
              <c:showLegendKey val="0"/>
              <c:showVal val="1"/>
              <c:showCatName val="0"/>
              <c:showSerName val="0"/>
              <c:showPercent val="0"/>
              <c:showBubbleSize val="0"/>
            </c:dLbl>
            <c:dLbl>
              <c:idx val="21"/>
              <c:tx>
                <c:rich>
                  <a:bodyPr/>
                  <a:lstStyle/>
                  <a:p>
                    <a:r>
                      <a:t>385.0</a:t>
                    </a:r>
                  </a:p>
                </c:rich>
              </c:tx>
              <c:showLegendKey val="0"/>
              <c:showVal val="1"/>
              <c:showCatName val="0"/>
              <c:showSerName val="0"/>
              <c:showPercent val="0"/>
              <c:showBubbleSize val="0"/>
            </c:dLbl>
            <c:dLbl>
              <c:idx val="22"/>
              <c:tx>
                <c:rich>
                  <a:bodyPr/>
                  <a:lstStyle/>
                  <a:p>
                    <a:r>
                      <a:t>299.0</a:t>
                    </a:r>
                  </a:p>
                </c:rich>
              </c:tx>
              <c:showLegendKey val="0"/>
              <c:showVal val="1"/>
              <c:showCatName val="0"/>
              <c:showSerName val="0"/>
              <c:showPercent val="0"/>
              <c:showBubbleSize val="0"/>
            </c:dLbl>
            <c:dLbl>
              <c:idx val="23"/>
              <c:tx>
                <c:rich>
                  <a:bodyPr/>
                  <a:lstStyle/>
                  <a:p>
                    <a:r>
                      <a:t>205.0</a:t>
                    </a:r>
                  </a:p>
                </c:rich>
              </c:tx>
              <c:showLegendKey val="0"/>
              <c:showVal val="1"/>
              <c:showCatName val="0"/>
              <c:showSerName val="0"/>
              <c:showPercent val="0"/>
              <c:showBubbleSize val="0"/>
            </c:dLbl>
            <c:dLbl>
              <c:idx val="24"/>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6</c:f>
              <c:strCache>
                <c:ptCount val="25"/>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Kids Cosmetics Locion 50 180Ml</c:v>
                </c:pt>
                <c:pt idx="10">
                  <c:v>Edgewell Banana Boat Tanning Tanning Adults Cosmetics Spray Aceite 0 - 5 237Ml</c:v>
                </c:pt>
                <c:pt idx="11">
                  <c:v>Edgewell Beauty Care Antioxidant Sunscreen Adults Cosmetics Liquido 50+ 50Ml</c:v>
                </c:pt>
                <c:pt idx="12">
                  <c:v>Edgewell Beauty Care Matte Sunscreen Adults Cosmetics Liquido 30 50Ml</c:v>
                </c:pt>
                <c:pt idx="13">
                  <c:v>Edgewell Beauty Care Sensitive Sunscreen Adults Cosmetics Liquido 50+ 50Ml</c:v>
                </c:pt>
                <c:pt idx="14">
                  <c:v>Edgewell Hawaiian Tropic After Sun After Sun Adults Cosmetics Gel 0 - 5 240Ml</c:v>
                </c:pt>
                <c:pt idx="15">
                  <c:v>Edgewell Hawaiian Tropic Carrot Tanning Adults Cosmetics Crema 10 - 14 240Ml</c:v>
                </c:pt>
                <c:pt idx="16">
                  <c:v>Edgewell Hawaiian Tropic Island Sport Sunscreen Adults Sport Liquido 50 60Ml</c:v>
                </c:pt>
                <c:pt idx="17">
                  <c:v>Edgewell Hawaiian Tropic Other Sunscreen Adults Cosmetics Crema 50+ 240Ml</c:v>
                </c:pt>
                <c:pt idx="18">
                  <c:v>Edgewell Hawaiian Tropic Ozono Sunscreen Adults Cosmetics Liquido 50+ 120Ml</c:v>
                </c:pt>
                <c:pt idx="19">
                  <c:v>Edgewell Hawaiian Tropic Ozono Sunscreen Adults Cosmetics Liquido 50+ 240Ml</c:v>
                </c:pt>
                <c:pt idx="20">
                  <c:v>Edgewell Hawaiian Tropic Ozono Sunscreen Adults Cosmetics Liquido 50+ 90Ml</c:v>
                </c:pt>
                <c:pt idx="21">
                  <c:v>Edgewell Hawaiian Tropic Ozono Sunscreen Adults Cosmetics Spray Liquido 50+ 180Ml</c:v>
                </c:pt>
                <c:pt idx="22">
                  <c:v>Edgewell Hawaiian Tropic Sheer Touch Sunscreen Adults Cosmetics Crema 30 - 49 240Ml</c:v>
                </c:pt>
                <c:pt idx="23">
                  <c:v>Edgewell Hawaiian Tropic Sheer Touch Sunscreen Adults Cosmetics Crema 50 120Ml</c:v>
                </c:pt>
                <c:pt idx="24">
                  <c:v>Edgewell Hawaiian Tropic Sheer Touch Sunscreen Adults Cosmetics Liquido 30 - 49 60Ml</c:v>
                </c:pt>
              </c:strCache>
            </c:strRef>
          </c:cat>
          <c:val>
            <c:numRef>
              <c:f>Sheet1!$B$2:$B$26</c:f>
              <c:numCache>
                <c:formatCode>General</c:formatCode>
                <c:ptCount val="25"/>
                <c:pt idx="0">
                  <c:v>310.0</c:v>
                </c:pt>
                <c:pt idx="1">
                  <c:v>305.0</c:v>
                </c:pt>
                <c:pt idx="2">
                  <c:v>349.0</c:v>
                </c:pt>
                <c:pt idx="3">
                  <c:v>305.0</c:v>
                </c:pt>
                <c:pt idx="4">
                  <c:v>367.5</c:v>
                </c:pt>
                <c:pt idx="5">
                  <c:v>305.0</c:v>
                </c:pt>
                <c:pt idx="6">
                  <c:v>335.0</c:v>
                </c:pt>
                <c:pt idx="7">
                  <c:v>385.0</c:v>
                </c:pt>
                <c:pt idx="8">
                  <c:v>305.0</c:v>
                </c:pt>
                <c:pt idx="9">
                  <c:v>242.0</c:v>
                </c:pt>
                <c:pt idx="10">
                  <c:v>279.0</c:v>
                </c:pt>
                <c:pt idx="11">
                  <c:v>179.0</c:v>
                </c:pt>
                <c:pt idx="12">
                  <c:v>179.0</c:v>
                </c:pt>
                <c:pt idx="13">
                  <c:v>179.0</c:v>
                </c:pt>
                <c:pt idx="14">
                  <c:v>299.0</c:v>
                </c:pt>
                <c:pt idx="15">
                  <c:v>299.0</c:v>
                </c:pt>
                <c:pt idx="16">
                  <c:v>105.0</c:v>
                </c:pt>
                <c:pt idx="17">
                  <c:v>350.0</c:v>
                </c:pt>
                <c:pt idx="18">
                  <c:v>205.0</c:v>
                </c:pt>
                <c:pt idx="19">
                  <c:v>350.0</c:v>
                </c:pt>
                <c:pt idx="20">
                  <c:v>125.0</c:v>
                </c:pt>
                <c:pt idx="21">
                  <c:v>385.0</c:v>
                </c:pt>
                <c:pt idx="22">
                  <c:v>299.0</c:v>
                </c:pt>
                <c:pt idx="23">
                  <c:v>205.0</c:v>
                </c:pt>
                <c:pt idx="24">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249.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15.0</a:t>
                    </a:r>
                  </a:p>
                </c:rich>
              </c:tx>
              <c:showLegendKey val="0"/>
              <c:showVal val="1"/>
              <c:showCatName val="0"/>
              <c:showSerName val="0"/>
              <c:showPercent val="0"/>
              <c:showBubbleSize val="0"/>
            </c:dLbl>
            <c:dLbl>
              <c:idx val="14"/>
              <c:tx>
                <c:rich>
                  <a:bodyPr/>
                  <a:lstStyle/>
                  <a:p>
                    <a:r>
                      <a:t>240.0</a:t>
                    </a:r>
                  </a:p>
                </c:rich>
              </c:tx>
              <c:showLegendKey val="0"/>
              <c:showVal val="1"/>
              <c:showCatName val="0"/>
              <c:showSerName val="0"/>
              <c:showPercent val="0"/>
              <c:showBubbleSize val="0"/>
            </c:dLbl>
            <c:dLbl>
              <c:idx val="15"/>
              <c:tx>
                <c:rich>
                  <a:bodyPr/>
                  <a:lstStyle/>
                  <a:p>
                    <a:r>
                      <a:t>179.0</a:t>
                    </a:r>
                  </a:p>
                </c:rich>
              </c:tx>
              <c:showLegendKey val="0"/>
              <c:showVal val="1"/>
              <c:showCatName val="0"/>
              <c:showSerName val="0"/>
              <c:showPercent val="0"/>
              <c:showBubbleSize val="0"/>
            </c:dLbl>
            <c:dLbl>
              <c:idx val="16"/>
              <c:tx>
                <c:rich>
                  <a:bodyPr/>
                  <a:lstStyle/>
                  <a:p>
                    <a:r>
                      <a:t>179.0</a:t>
                    </a:r>
                  </a:p>
                </c:rich>
              </c:tx>
              <c:showLegendKey val="0"/>
              <c:showVal val="1"/>
              <c:showCatName val="0"/>
              <c:showSerName val="0"/>
              <c:showPercent val="0"/>
              <c:showBubbleSize val="0"/>
            </c:dLbl>
            <c:dLbl>
              <c:idx val="17"/>
              <c:tx>
                <c:rich>
                  <a:bodyPr/>
                  <a:lstStyle/>
                  <a:p>
                    <a:r>
                      <a:t>179.0</a:t>
                    </a:r>
                  </a:p>
                </c:rich>
              </c:tx>
              <c:showLegendKey val="0"/>
              <c:showVal val="1"/>
              <c:showCatName val="0"/>
              <c:showSerName val="0"/>
              <c:showPercent val="0"/>
              <c:showBubbleSize val="0"/>
            </c:dLbl>
            <c:dLbl>
              <c:idx val="18"/>
              <c:tx>
                <c:rich>
                  <a:bodyPr/>
                  <a:lstStyle/>
                  <a:p>
                    <a:r>
                      <a:t>105.0</a:t>
                    </a:r>
                  </a:p>
                </c:rich>
              </c:tx>
              <c:showLegendKey val="0"/>
              <c:showVal val="1"/>
              <c:showCatName val="0"/>
              <c:showSerName val="0"/>
              <c:showPercent val="0"/>
              <c:showBubbleSize val="0"/>
            </c:dLbl>
            <c:dLbl>
              <c:idx val="19"/>
              <c:tx>
                <c:rich>
                  <a:bodyPr/>
                  <a:lstStyle/>
                  <a:p>
                    <a:r>
                      <a:t>350.0</a:t>
                    </a:r>
                  </a:p>
                </c:rich>
              </c:tx>
              <c:showLegendKey val="0"/>
              <c:showVal val="1"/>
              <c:showCatName val="0"/>
              <c:showSerName val="0"/>
              <c:showPercent val="0"/>
              <c:showBubbleSize val="0"/>
            </c:dLbl>
            <c:dLbl>
              <c:idx val="20"/>
              <c:tx>
                <c:rich>
                  <a:bodyPr/>
                  <a:lstStyle/>
                  <a:p>
                    <a:r>
                      <a:t>205.0</a:t>
                    </a:r>
                  </a:p>
                </c:rich>
              </c:tx>
              <c:showLegendKey val="0"/>
              <c:showVal val="1"/>
              <c:showCatName val="0"/>
              <c:showSerName val="0"/>
              <c:showPercent val="0"/>
              <c:showBubbleSize val="0"/>
            </c:dLbl>
            <c:dLbl>
              <c:idx val="21"/>
              <c:tx>
                <c:rich>
                  <a:bodyPr/>
                  <a:lstStyle/>
                  <a:p>
                    <a:r>
                      <a:t>350.0</a:t>
                    </a:r>
                  </a:p>
                </c:rich>
              </c:tx>
              <c:showLegendKey val="0"/>
              <c:showVal val="1"/>
              <c:showCatName val="0"/>
              <c:showSerName val="0"/>
              <c:showPercent val="0"/>
              <c:showBubbleSize val="0"/>
            </c:dLbl>
            <c:dLbl>
              <c:idx val="22"/>
              <c:tx>
                <c:rich>
                  <a:bodyPr/>
                  <a:lstStyle/>
                  <a:p>
                    <a:r>
                      <a:t>350.0</a:t>
                    </a:r>
                  </a:p>
                </c:rich>
              </c:tx>
              <c:showLegendKey val="0"/>
              <c:showVal val="1"/>
              <c:showCatName val="0"/>
              <c:showSerName val="0"/>
              <c:showPercent val="0"/>
              <c:showBubbleSize val="0"/>
            </c:dLbl>
            <c:dLbl>
              <c:idx val="23"/>
              <c:tx>
                <c:rich>
                  <a:bodyPr/>
                  <a:lstStyle/>
                  <a:p>
                    <a:r>
                      <a:t>125.0</a:t>
                    </a:r>
                  </a:p>
                </c:rich>
              </c:tx>
              <c:showLegendKey val="0"/>
              <c:showVal val="1"/>
              <c:showCatName val="0"/>
              <c:showSerName val="0"/>
              <c:showPercent val="0"/>
              <c:showBubbleSize val="0"/>
            </c:dLbl>
            <c:dLbl>
              <c:idx val="24"/>
              <c:tx>
                <c:rich>
                  <a:bodyPr/>
                  <a:lstStyle/>
                  <a:p>
                    <a:r>
                      <a:t>385.0</a:t>
                    </a:r>
                  </a:p>
                </c:rich>
              </c:tx>
              <c:showLegendKey val="0"/>
              <c:showVal val="1"/>
              <c:showCatName val="0"/>
              <c:showSerName val="0"/>
              <c:showPercent val="0"/>
              <c:showBubbleSize val="0"/>
            </c:dLbl>
            <c:dLbl>
              <c:idx val="25"/>
              <c:tx>
                <c:rich>
                  <a:bodyPr/>
                  <a:lstStyle/>
                  <a:p>
                    <a:r>
                      <a:t>299.0</a:t>
                    </a:r>
                  </a:p>
                </c:rich>
              </c:tx>
              <c:showLegendKey val="0"/>
              <c:showVal val="1"/>
              <c:showCatName val="0"/>
              <c:showSerName val="0"/>
              <c:showPercent val="0"/>
              <c:showBubbleSize val="0"/>
            </c:dLbl>
            <c:dLbl>
              <c:idx val="26"/>
              <c:tx>
                <c:rich>
                  <a:bodyPr/>
                  <a:lstStyle/>
                  <a:p>
                    <a:r>
                      <a:t>205.0</a:t>
                    </a:r>
                  </a:p>
                </c:rich>
              </c:tx>
              <c:showLegendKey val="0"/>
              <c:showVal val="1"/>
              <c:showCatName val="0"/>
              <c:showSerName val="0"/>
              <c:showPercent val="0"/>
              <c:showBubbleSize val="0"/>
            </c:dLbl>
            <c:dLbl>
              <c:idx val="27"/>
              <c:tx>
                <c:rich>
                  <a:bodyPr/>
                  <a:lstStyle/>
                  <a:p>
                    <a:r>
                      <a:t>105.0</a:t>
                    </a:r>
                  </a:p>
                </c:rich>
              </c:tx>
              <c:showLegendKey val="0"/>
              <c:showVal val="1"/>
              <c:showCatName val="0"/>
              <c:showSerName val="0"/>
              <c:showPercent val="0"/>
              <c:showBubbleSize val="0"/>
            </c:dLbl>
            <c:dLbl>
              <c:idx val="28"/>
              <c:tx>
                <c:rich>
                  <a:bodyPr/>
                  <a:lstStyle/>
                  <a:p>
                    <a:r>
                      <a:t>315.0</a:t>
                    </a:r>
                  </a:p>
                </c:rich>
              </c:tx>
              <c:showLegendKey val="0"/>
              <c:showVal val="1"/>
              <c:showCatName val="0"/>
              <c:showSerName val="0"/>
              <c:showPercent val="0"/>
              <c:showBubbleSize val="0"/>
            </c:dLbl>
            <c:dLbl>
              <c:idx val="29"/>
              <c:tx>
                <c:rich>
                  <a:bodyPr/>
                  <a:lstStyle/>
                  <a:p>
                    <a:r>
                      <a:t>819.0</a:t>
                    </a:r>
                  </a:p>
                </c:rich>
              </c:tx>
              <c:showLegendKey val="0"/>
              <c:showVal val="1"/>
              <c:showCatName val="0"/>
              <c:showSerName val="0"/>
              <c:showPercent val="0"/>
              <c:showBubbleSize val="0"/>
            </c:dLbl>
            <c:dLbl>
              <c:idx val="30"/>
              <c:tx>
                <c:rich>
                  <a:bodyPr/>
                  <a:lstStyle/>
                  <a:p>
                    <a:r>
                      <a:t>651.98</a:t>
                    </a:r>
                  </a:p>
                </c:rich>
              </c:tx>
              <c:showLegendKey val="0"/>
              <c:showVal val="1"/>
              <c:showCatName val="0"/>
              <c:showSerName val="0"/>
              <c:showPercent val="0"/>
              <c:showBubbleSize val="0"/>
            </c:dLbl>
            <c:dLbl>
              <c:idx val="31"/>
              <c:tx>
                <c:rich>
                  <a:bodyPr/>
                  <a:lstStyle/>
                  <a:p>
                    <a:r>
                      <a:t>659.0</a:t>
                    </a:r>
                  </a:p>
                </c:rich>
              </c:tx>
              <c:showLegendKey val="0"/>
              <c:showVal val="1"/>
              <c:showCatName val="0"/>
              <c:showSerName val="0"/>
              <c:showPercent val="0"/>
              <c:showBubbleSize val="0"/>
            </c:dLbl>
            <c:dLbl>
              <c:idx val="32"/>
              <c:tx>
                <c:rich>
                  <a:bodyPr/>
                  <a:lstStyle/>
                  <a:p>
                    <a:r>
                      <a:t>699.0</a:t>
                    </a:r>
                  </a:p>
                </c:rich>
              </c:tx>
              <c:showLegendKey val="0"/>
              <c:showVal val="1"/>
              <c:showCatName val="0"/>
              <c:showSerName val="0"/>
              <c:showPercent val="0"/>
              <c:showBubbleSize val="0"/>
            </c:dLbl>
            <c:dLbl>
              <c:idx val="33"/>
              <c:tx>
                <c:rich>
                  <a:bodyPr/>
                  <a:lstStyle/>
                  <a:p>
                    <a:r>
                      <a:t>549.0</a:t>
                    </a:r>
                  </a:p>
                </c:rich>
              </c:tx>
              <c:showLegendKey val="0"/>
              <c:showVal val="1"/>
              <c:showCatName val="0"/>
              <c:showSerName val="0"/>
              <c:showPercent val="0"/>
              <c:showBubbleSize val="0"/>
            </c:dLbl>
            <c:dLbl>
              <c:idx val="34"/>
              <c:tx>
                <c:rich>
                  <a:bodyPr/>
                  <a:lstStyle/>
                  <a:p>
                    <a:r>
                      <a:t>739.0</a:t>
                    </a:r>
                  </a:p>
                </c:rich>
              </c:tx>
              <c:showLegendKey val="0"/>
              <c:showVal val="1"/>
              <c:showCatName val="0"/>
              <c:showSerName val="0"/>
              <c:showPercent val="0"/>
              <c:showBubbleSize val="0"/>
            </c:dLbl>
            <c:dLbl>
              <c:idx val="35"/>
              <c:tx>
                <c:rich>
                  <a:bodyPr/>
                  <a:lstStyle/>
                  <a:p>
                    <a:r>
                      <a:t>829.0</a:t>
                    </a:r>
                  </a:p>
                </c:rich>
              </c:tx>
              <c:showLegendKey val="0"/>
              <c:showVal val="1"/>
              <c:showCatName val="0"/>
              <c:showSerName val="0"/>
              <c:showPercent val="0"/>
              <c:showBubbleSize val="0"/>
            </c:dLbl>
            <c:dLbl>
              <c:idx val="36"/>
              <c:tx>
                <c:rich>
                  <a:bodyPr/>
                  <a:lstStyle/>
                  <a:p>
                    <a:r>
                      <a:t>499.0</a:t>
                    </a:r>
                  </a:p>
                </c:rich>
              </c:tx>
              <c:showLegendKey val="0"/>
              <c:showVal val="1"/>
              <c:showCatName val="0"/>
              <c:showSerName val="0"/>
              <c:showPercent val="0"/>
              <c:showBubbleSize val="0"/>
            </c:dLbl>
            <c:dLbl>
              <c:idx val="37"/>
              <c:tx>
                <c:rich>
                  <a:bodyPr/>
                  <a:lstStyle/>
                  <a:p>
                    <a:r>
                      <a:t>254.33</a:t>
                    </a:r>
                  </a:p>
                </c:rich>
              </c:tx>
              <c:showLegendKey val="0"/>
              <c:showVal val="1"/>
              <c:showCatName val="0"/>
              <c:showSerName val="0"/>
              <c:showPercent val="0"/>
              <c:showBubbleSize val="0"/>
            </c:dLbl>
            <c:dLbl>
              <c:idx val="38"/>
              <c:tx>
                <c:rich>
                  <a:bodyPr/>
                  <a:lstStyle/>
                  <a:p>
                    <a:r>
                      <a:t>319.0</a:t>
                    </a:r>
                  </a:p>
                </c:rich>
              </c:tx>
              <c:showLegendKey val="0"/>
              <c:showVal val="1"/>
              <c:showCatName val="0"/>
              <c:showSerName val="0"/>
              <c:showPercent val="0"/>
              <c:showBubbleSize val="0"/>
            </c:dLbl>
            <c:dLbl>
              <c:idx val="39"/>
              <c:tx>
                <c:rich>
                  <a:bodyPr/>
                  <a:lstStyle/>
                  <a:p>
                    <a:r>
                      <a:t>220.0</a:t>
                    </a:r>
                  </a:p>
                </c:rich>
              </c:tx>
              <c:showLegendKey val="0"/>
              <c:showVal val="1"/>
              <c:showCatName val="0"/>
              <c:showSerName val="0"/>
              <c:showPercent val="0"/>
              <c:showBubbleSize val="0"/>
            </c:dLbl>
            <c:dLbl>
              <c:idx val="40"/>
              <c:tx>
                <c:rich>
                  <a:bodyPr/>
                  <a:lstStyle/>
                  <a:p>
                    <a:r>
                      <a:t>286.0</a:t>
                    </a:r>
                  </a:p>
                </c:rich>
              </c:tx>
              <c:showLegendKey val="0"/>
              <c:showVal val="1"/>
              <c:showCatName val="0"/>
              <c:showSerName val="0"/>
              <c:showPercent val="0"/>
              <c:showBubbleSize val="0"/>
            </c:dLbl>
            <c:dLbl>
              <c:idx val="41"/>
              <c:tx>
                <c:rich>
                  <a:bodyPr/>
                  <a:lstStyle/>
                  <a:p>
                    <a:r>
                      <a:t>311.0</a:t>
                    </a:r>
                  </a:p>
                </c:rich>
              </c:tx>
              <c:showLegendKey val="0"/>
              <c:showVal val="1"/>
              <c:showCatName val="0"/>
              <c:showSerName val="0"/>
              <c:showPercent val="0"/>
              <c:showBubbleSize val="0"/>
            </c:dLbl>
            <c:dLbl>
              <c:idx val="42"/>
              <c:tx>
                <c:rich>
                  <a:bodyPr/>
                  <a:lstStyle/>
                  <a:p>
                    <a:r>
                      <a:t>423.9</a:t>
                    </a:r>
                  </a:p>
                </c:rich>
              </c:tx>
              <c:showLegendKey val="0"/>
              <c:showVal val="1"/>
              <c:showCatName val="0"/>
              <c:showSerName val="0"/>
              <c:showPercent val="0"/>
              <c:showBubbleSize val="0"/>
            </c:dLbl>
            <c:dLbl>
              <c:idx val="43"/>
              <c:tx>
                <c:rich>
                  <a:bodyPr/>
                  <a:lstStyle/>
                  <a:p>
                    <a:r>
                      <a:t>278.0</a:t>
                    </a:r>
                  </a:p>
                </c:rich>
              </c:tx>
              <c:showLegendKey val="0"/>
              <c:showVal val="1"/>
              <c:showCatName val="0"/>
              <c:showSerName val="0"/>
              <c:showPercent val="0"/>
              <c:showBubbleSize val="0"/>
            </c:dLbl>
            <c:dLbl>
              <c:idx val="44"/>
              <c:tx>
                <c:rich>
                  <a:bodyPr/>
                  <a:lstStyle/>
                  <a:p>
                    <a:r>
                      <a:t>393.9</a:t>
                    </a:r>
                  </a:p>
                </c:rich>
              </c:tx>
              <c:showLegendKey val="0"/>
              <c:showVal val="1"/>
              <c:showCatName val="0"/>
              <c:showSerName val="0"/>
              <c:showPercent val="0"/>
              <c:showBubbleSize val="0"/>
            </c:dLbl>
            <c:dLbl>
              <c:idx val="45"/>
              <c:tx>
                <c:rich>
                  <a:bodyPr/>
                  <a:lstStyle/>
                  <a:p>
                    <a:r>
                      <a:t>188.0</a:t>
                    </a:r>
                  </a:p>
                </c:rich>
              </c:tx>
              <c:showLegendKey val="0"/>
              <c:showVal val="1"/>
              <c:showCatName val="0"/>
              <c:showSerName val="0"/>
              <c:showPercent val="0"/>
              <c:showBubbleSize val="0"/>
            </c:dLbl>
            <c:dLbl>
              <c:idx val="46"/>
              <c:tx>
                <c:rich>
                  <a:bodyPr/>
                  <a:lstStyle/>
                  <a:p>
                    <a:r>
                      <a:t>326.0</a:t>
                    </a:r>
                  </a:p>
                </c:rich>
              </c:tx>
              <c:showLegendKey val="0"/>
              <c:showVal val="1"/>
              <c:showCatName val="0"/>
              <c:showSerName val="0"/>
              <c:showPercent val="0"/>
              <c:showBubbleSize val="0"/>
            </c:dLbl>
            <c:dLbl>
              <c:idx val="47"/>
              <c:tx>
                <c:rich>
                  <a:bodyPr/>
                  <a:lstStyle/>
                  <a:p>
                    <a:r>
                      <a:t>349.0</a:t>
                    </a:r>
                  </a:p>
                </c:rich>
              </c:tx>
              <c:showLegendKey val="0"/>
              <c:showVal val="1"/>
              <c:showCatName val="0"/>
              <c:showSerName val="0"/>
              <c:showPercent val="0"/>
              <c:showBubbleSize val="0"/>
            </c:dLbl>
            <c:dLbl>
              <c:idx val="48"/>
              <c:tx>
                <c:rich>
                  <a:bodyPr/>
                  <a:lstStyle/>
                  <a:p>
                    <a:r>
                      <a:t>310.0</a:t>
                    </a:r>
                  </a:p>
                </c:rich>
              </c:tx>
              <c:showLegendKey val="0"/>
              <c:showVal val="1"/>
              <c:showCatName val="0"/>
              <c:showSerName val="0"/>
              <c:showPercent val="0"/>
              <c:showBubbleSize val="0"/>
            </c:dLbl>
            <c:dLbl>
              <c:idx val="49"/>
              <c:tx>
                <c:rich>
                  <a:bodyPr/>
                  <a:lstStyle/>
                  <a:p>
                    <a:r>
                      <a:t>365.0</a:t>
                    </a:r>
                  </a:p>
                </c:rich>
              </c:tx>
              <c:showLegendKey val="0"/>
              <c:showVal val="1"/>
              <c:showCatName val="0"/>
              <c:showSerName val="0"/>
              <c:showPercent val="0"/>
              <c:showBubbleSize val="0"/>
            </c:dLbl>
            <c:dLbl>
              <c:idx val="50"/>
              <c:tx>
                <c:rich>
                  <a:bodyPr/>
                  <a:lstStyle/>
                  <a:p>
                    <a:r>
                      <a:t>659.0</a:t>
                    </a:r>
                  </a:p>
                </c:rich>
              </c:tx>
              <c:showLegendKey val="0"/>
              <c:showVal val="1"/>
              <c:showCatName val="0"/>
              <c:showSerName val="0"/>
              <c:showPercent val="0"/>
              <c:showBubbleSize val="0"/>
            </c:dLbl>
            <c:dLbl>
              <c:idx val="51"/>
              <c:tx>
                <c:rich>
                  <a:bodyPr/>
                  <a:lstStyle/>
                  <a:p>
                    <a:r>
                      <a:t>719.0</a:t>
                    </a:r>
                  </a:p>
                </c:rich>
              </c:tx>
              <c:showLegendKey val="0"/>
              <c:showVal val="1"/>
              <c:showCatName val="0"/>
              <c:showSerName val="0"/>
              <c:showPercent val="0"/>
              <c:showBubbleSize val="0"/>
            </c:dLbl>
            <c:dLbl>
              <c:idx val="52"/>
              <c:tx>
                <c:rich>
                  <a:bodyPr/>
                  <a:lstStyle/>
                  <a:p>
                    <a:r>
                      <a:t>683.48</a:t>
                    </a:r>
                  </a:p>
                </c:rich>
              </c:tx>
              <c:showLegendKey val="0"/>
              <c:showVal val="1"/>
              <c:showCatName val="0"/>
              <c:showSerName val="0"/>
              <c:showPercent val="0"/>
              <c:showBubbleSize val="0"/>
            </c:dLbl>
            <c:dLbl>
              <c:idx val="53"/>
              <c:tx>
                <c:rich>
                  <a:bodyPr/>
                  <a:lstStyle/>
                  <a:p>
                    <a:r>
                      <a:t>616.0</a:t>
                    </a:r>
                  </a:p>
                </c:rich>
              </c:tx>
              <c:showLegendKey val="0"/>
              <c:showVal val="1"/>
              <c:showCatName val="0"/>
              <c:showSerName val="0"/>
              <c:showPercent val="0"/>
              <c:showBubbleSize val="0"/>
            </c:dLbl>
            <c:dLbl>
              <c:idx val="54"/>
              <c:tx>
                <c:rich>
                  <a:bodyPr/>
                  <a:lstStyle/>
                  <a:p>
                    <a:r>
                      <a:t>590.0</a:t>
                    </a:r>
                  </a:p>
                </c:rich>
              </c:tx>
              <c:showLegendKey val="0"/>
              <c:showVal val="1"/>
              <c:showCatName val="0"/>
              <c:showSerName val="0"/>
              <c:showPercent val="0"/>
              <c:showBubbleSize val="0"/>
            </c:dLbl>
            <c:dLbl>
              <c:idx val="55"/>
              <c:tx>
                <c:rich>
                  <a:bodyPr/>
                  <a:lstStyle/>
                  <a:p>
                    <a:r>
                      <a:t>637.5</a:t>
                    </a:r>
                  </a:p>
                </c:rich>
              </c:tx>
              <c:showLegendKey val="0"/>
              <c:showVal val="1"/>
              <c:showCatName val="0"/>
              <c:showSerName val="0"/>
              <c:showPercent val="0"/>
              <c:showBubbleSize val="0"/>
            </c:dLbl>
            <c:dLbl>
              <c:idx val="56"/>
              <c:tx>
                <c:rich>
                  <a:bodyPr/>
                  <a:lstStyle/>
                  <a:p>
                    <a:r>
                      <a:t>719.0</a:t>
                    </a:r>
                  </a:p>
                </c:rich>
              </c:tx>
              <c:showLegendKey val="0"/>
              <c:showVal val="1"/>
              <c:showCatName val="0"/>
              <c:showSerName val="0"/>
              <c:showPercent val="0"/>
              <c:showBubbleSize val="0"/>
            </c:dLbl>
            <c:dLbl>
              <c:idx val="57"/>
              <c:tx>
                <c:rich>
                  <a:bodyPr/>
                  <a:lstStyle/>
                  <a:p>
                    <a:r>
                      <a:t>669.0</a:t>
                    </a:r>
                  </a:p>
                </c:rich>
              </c:tx>
              <c:showLegendKey val="0"/>
              <c:showVal val="1"/>
              <c:showCatName val="0"/>
              <c:showSerName val="0"/>
              <c:showPercent val="0"/>
              <c:showBubbleSize val="0"/>
            </c:dLbl>
            <c:dLbl>
              <c:idx val="58"/>
              <c:tx>
                <c:rich>
                  <a:bodyPr/>
                  <a:lstStyle/>
                  <a:p>
                    <a:r>
                      <a:t>709.0</a:t>
                    </a:r>
                  </a:p>
                </c:rich>
              </c:tx>
              <c:showLegendKey val="0"/>
              <c:showVal val="1"/>
              <c:showCatName val="0"/>
              <c:showSerName val="0"/>
              <c:showPercent val="0"/>
              <c:showBubbleSize val="0"/>
            </c:dLbl>
            <c:dLbl>
              <c:idx val="59"/>
              <c:tx>
                <c:rich>
                  <a:bodyPr/>
                  <a:lstStyle/>
                  <a:p>
                    <a:r>
                      <a:t>600.0</a:t>
                    </a:r>
                  </a:p>
                </c:rich>
              </c:tx>
              <c:showLegendKey val="0"/>
              <c:showVal val="1"/>
              <c:showCatName val="0"/>
              <c:showSerName val="0"/>
              <c:showPercent val="0"/>
              <c:showBubbleSize val="0"/>
            </c:dLbl>
            <c:dLbl>
              <c:idx val="60"/>
              <c:tx>
                <c:rich>
                  <a:bodyPr/>
                  <a:lstStyle/>
                  <a:p>
                    <a:r>
                      <a:t>594.89</a:t>
                    </a:r>
                  </a:p>
                </c:rich>
              </c:tx>
              <c:showLegendKey val="0"/>
              <c:showVal val="1"/>
              <c:showCatName val="0"/>
              <c:showSerName val="0"/>
              <c:showPercent val="0"/>
              <c:showBubbleSize val="0"/>
            </c:dLbl>
            <c:dLbl>
              <c:idx val="61"/>
              <c:tx>
                <c:rich>
                  <a:bodyPr/>
                  <a:lstStyle/>
                  <a:p>
                    <a:r>
                      <a:t>650.0</a:t>
                    </a:r>
                  </a:p>
                </c:rich>
              </c:tx>
              <c:showLegendKey val="0"/>
              <c:showVal val="1"/>
              <c:showCatName val="0"/>
              <c:showSerName val="0"/>
              <c:showPercent val="0"/>
              <c:showBubbleSize val="0"/>
            </c:dLbl>
            <c:dLbl>
              <c:idx val="62"/>
              <c:tx>
                <c:rich>
                  <a:bodyPr/>
                  <a:lstStyle/>
                  <a:p>
                    <a:r>
                      <a:t>170.0</a:t>
                    </a:r>
                  </a:p>
                </c:rich>
              </c:tx>
              <c:showLegendKey val="0"/>
              <c:showVal val="1"/>
              <c:showCatName val="0"/>
              <c:showSerName val="0"/>
              <c:showPercent val="0"/>
              <c:showBubbleSize val="0"/>
            </c:dLbl>
            <c:dLbl>
              <c:idx val="63"/>
              <c:tx>
                <c:rich>
                  <a:bodyPr/>
                  <a:lstStyle/>
                  <a:p>
                    <a:r>
                      <a:t>220.0</a:t>
                    </a:r>
                  </a:p>
                </c:rich>
              </c:tx>
              <c:showLegendKey val="0"/>
              <c:showVal val="1"/>
              <c:showCatName val="0"/>
              <c:showSerName val="0"/>
              <c:showPercent val="0"/>
              <c:showBubbleSize val="0"/>
            </c:dLbl>
            <c:dLbl>
              <c:idx val="64"/>
              <c:tx>
                <c:rich>
                  <a:bodyPr/>
                  <a:lstStyle/>
                  <a:p>
                    <a:r>
                      <a:t>829.0</a:t>
                    </a:r>
                  </a:p>
                </c:rich>
              </c:tx>
              <c:showLegendKey val="0"/>
              <c:showVal val="1"/>
              <c:showCatName val="0"/>
              <c:showSerName val="0"/>
              <c:showPercent val="0"/>
              <c:showBubbleSize val="0"/>
            </c:dLbl>
            <c:dLbl>
              <c:idx val="65"/>
              <c:tx>
                <c:rich>
                  <a:bodyPr/>
                  <a:lstStyle/>
                  <a:p>
                    <a:r>
                      <a:t>752.33</a:t>
                    </a:r>
                  </a:p>
                </c:rich>
              </c:tx>
              <c:showLegendKey val="0"/>
              <c:showVal val="1"/>
              <c:showCatName val="0"/>
              <c:showSerName val="0"/>
              <c:showPercent val="0"/>
              <c:showBubbleSize val="0"/>
            </c:dLbl>
            <c:dLbl>
              <c:idx val="66"/>
              <c:tx>
                <c:rich>
                  <a:bodyPr/>
                  <a:lstStyle/>
                  <a:p>
                    <a:r>
                      <a:t>586.37</a:t>
                    </a:r>
                  </a:p>
                </c:rich>
              </c:tx>
              <c:showLegendKey val="0"/>
              <c:showVal val="1"/>
              <c:showCatName val="0"/>
              <c:showSerName val="0"/>
              <c:showPercent val="0"/>
              <c:showBubbleSize val="0"/>
            </c:dLbl>
            <c:dLbl>
              <c:idx val="67"/>
              <c:tx>
                <c:rich>
                  <a:bodyPr/>
                  <a:lstStyle/>
                  <a:p>
                    <a:r>
                      <a:t>549.0</a:t>
                    </a:r>
                  </a:p>
                </c:rich>
              </c:tx>
              <c:showLegendKey val="0"/>
              <c:showVal val="1"/>
              <c:showCatName val="0"/>
              <c:showSerName val="0"/>
              <c:showPercent val="0"/>
              <c:showBubbleSize val="0"/>
            </c:dLbl>
            <c:dLbl>
              <c:idx val="68"/>
              <c:tx>
                <c:rich>
                  <a:bodyPr/>
                  <a:lstStyle/>
                  <a:p>
                    <a:r>
                      <a:t>689.0</a:t>
                    </a:r>
                  </a:p>
                </c:rich>
              </c:tx>
              <c:showLegendKey val="0"/>
              <c:showVal val="1"/>
              <c:showCatName val="0"/>
              <c:showSerName val="0"/>
              <c:showPercent val="0"/>
              <c:showBubbleSize val="0"/>
            </c:dLbl>
            <c:dLbl>
              <c:idx val="69"/>
              <c:tx>
                <c:rich>
                  <a:bodyPr/>
                  <a:lstStyle/>
                  <a:p>
                    <a:r>
                      <a:t>672.3</a:t>
                    </a:r>
                  </a:p>
                </c:rich>
              </c:tx>
              <c:showLegendKey val="0"/>
              <c:showVal val="1"/>
              <c:showCatName val="0"/>
              <c:showSerName val="0"/>
              <c:showPercent val="0"/>
              <c:showBubbleSize val="0"/>
            </c:dLbl>
            <c:dLbl>
              <c:idx val="70"/>
              <c:tx>
                <c:rich>
                  <a:bodyPr/>
                  <a:lstStyle/>
                  <a:p>
                    <a:r>
                      <a:t>220.0</a:t>
                    </a:r>
                  </a:p>
                </c:rich>
              </c:tx>
              <c:showLegendKey val="0"/>
              <c:showVal val="1"/>
              <c:showCatName val="0"/>
              <c:showSerName val="0"/>
              <c:showPercent val="0"/>
              <c:showBubbleSize val="0"/>
            </c:dLbl>
            <c:dLbl>
              <c:idx val="71"/>
              <c:tx>
                <c:rich>
                  <a:bodyPr/>
                  <a:lstStyle/>
                  <a:p>
                    <a:r>
                      <a:t>889.0</a:t>
                    </a:r>
                  </a:p>
                </c:rich>
              </c:tx>
              <c:showLegendKey val="0"/>
              <c:showVal val="1"/>
              <c:showCatName val="0"/>
              <c:showSerName val="0"/>
              <c:showPercent val="0"/>
              <c:showBubbleSize val="0"/>
            </c:dLbl>
            <c:dLbl>
              <c:idx val="72"/>
              <c:tx>
                <c:rich>
                  <a:bodyPr/>
                  <a:lstStyle/>
                  <a:p>
                    <a:r>
                      <a:t>752.33</a:t>
                    </a:r>
                  </a:p>
                </c:rich>
              </c:tx>
              <c:showLegendKey val="0"/>
              <c:showVal val="1"/>
              <c:showCatName val="0"/>
              <c:showSerName val="0"/>
              <c:showPercent val="0"/>
              <c:showBubbleSize val="0"/>
            </c:dLbl>
            <c:dLbl>
              <c:idx val="73"/>
              <c:tx>
                <c:rich>
                  <a:bodyPr/>
                  <a:lstStyle/>
                  <a:p>
                    <a:r>
                      <a:t>739.0</a:t>
                    </a:r>
                  </a:p>
                </c:rich>
              </c:tx>
              <c:showLegendKey val="0"/>
              <c:showVal val="1"/>
              <c:showCatName val="0"/>
              <c:showSerName val="0"/>
              <c:showPercent val="0"/>
              <c:showBubbleSize val="0"/>
            </c:dLbl>
            <c:dLbl>
              <c:idx val="74"/>
              <c:tx>
                <c:rich>
                  <a:bodyPr/>
                  <a:lstStyle/>
                  <a:p>
                    <a:r>
                      <a:t>689.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6</c:f>
              <c:strCache>
                <c:ptCount val="75"/>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Cosmetics Spray Crema 50+ 220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Ultra Sunscreen Adults Sport Roll-On 60+ 75Ml</c:v>
                </c:pt>
                <c:pt idx="14">
                  <c:v>Edgewell Beauty Care Antioxidant Sunscreen Adults Cosmetics Liquido 15 - 19 100Ml</c:v>
                </c:pt>
                <c:pt idx="15">
                  <c:v>Edgewell Beauty Care Antioxidant Sunscreen Adults Cosmetics Liquido 50+ 50Ml</c:v>
                </c:pt>
                <c:pt idx="16">
                  <c:v>Edgewell Beauty Care Matte Sunscreen Adults Cosmetics Liquido 30 50Ml</c:v>
                </c:pt>
                <c:pt idx="17">
                  <c:v>Edgewell Beauty Care Sensitive Sunscreen Adults Cosmetics Liquido 50+ 50Ml</c:v>
                </c:pt>
                <c:pt idx="18">
                  <c:v>Edgewell Hawaiian Tropic Island Sport Sunscreen Adults Sport Liquido 50 60Ml</c:v>
                </c:pt>
                <c:pt idx="19">
                  <c:v>Edgewell Hawaiian Tropic Other Sunscreen Adults Cosmetics Crema 50+ 240Ml</c:v>
                </c:pt>
                <c:pt idx="20">
                  <c:v>Edgewell Hawaiian Tropic Ozono Sunscreen Adults Cosmetics Liquido 50+ 120Ml</c:v>
                </c:pt>
                <c:pt idx="21">
                  <c:v>Edgewell Hawaiian Tropic Ozono Sunscreen Adults Cosmetics Liquido 50+ 180Ml</c:v>
                </c:pt>
                <c:pt idx="22">
                  <c:v>Edgewell Hawaiian Tropic Ozono Sunscreen Adults Cosmetics Liquido 50+ 240Ml</c:v>
                </c:pt>
                <c:pt idx="23">
                  <c:v>Edgewell Hawaiian Tropic Ozono Sunscreen Adults Cosmetics Liquido 50+ 90Ml</c:v>
                </c:pt>
                <c:pt idx="24">
                  <c:v>Edgewell Hawaiian Tropic Ozono Sunscreen Adults Cosmetics Spray Liquido 50+ 180Ml</c:v>
                </c:pt>
                <c:pt idx="25">
                  <c:v>Edgewell Hawaiian Tropic Sheer Touch Sunscreen Adults Cosmetics Crema 30 - 49 240Ml</c:v>
                </c:pt>
                <c:pt idx="26">
                  <c:v>Edgewell Hawaiian Tropic Sheer Touch Sunscreen Adults Cosmetics Crema 50 120Ml</c:v>
                </c:pt>
                <c:pt idx="27">
                  <c:v>Edgewell Hawaiian Tropic Sheer Touch Sunscreen Adults Cosmetics Liquido 30 - 49 60Ml</c:v>
                </c:pt>
                <c:pt idx="28">
                  <c:v>Edgewell Hawaiian Tropic Tanning Sunscreen Adults Cosmetics Spray Liquido 15 - 19 220Ml</c:v>
                </c:pt>
                <c:pt idx="29">
                  <c:v>Beiersdorf Eucerin Sunscreen Adults Derma Crema 50+ 200Ml</c:v>
                </c:pt>
                <c:pt idx="30">
                  <c:v>Beiersdorf Eucerin Sunscreen Adults Derma Crema 50+ 50Ml</c:v>
                </c:pt>
                <c:pt idx="31">
                  <c:v>Beiersdorf Eucerin Sunscreen Adults Derma Fluido 50+ 50Ml</c:v>
                </c:pt>
                <c:pt idx="32">
                  <c:v>Beiersdorf Eucerin Sunscreen Adults Derma Gel 50+ 50Ml</c:v>
                </c:pt>
                <c:pt idx="33">
                  <c:v>Beiersdorf Eucerin Sunscreen Adults Derma Liquido 50 150Ml</c:v>
                </c:pt>
                <c:pt idx="34">
                  <c:v>Beiersdorf Eucerin Sunscreen Adults Derma Spray Crema 50 50Ml</c:v>
                </c:pt>
                <c:pt idx="35">
                  <c:v>Beiersdorf Eucerin Sunscreen Adults Derma Spray Liquido 50 200Ml</c:v>
                </c:pt>
                <c:pt idx="36">
                  <c:v>Beiersdorf Eucerin Sunscreen Adults Sunscreen Derma Spray Crema 50/50+ 200Ml</c:v>
                </c:pt>
                <c:pt idx="37">
                  <c:v>Beiersdorf Nivea Sunscreen Adults Cosmetics Crema 50 50Ml</c:v>
                </c:pt>
                <c:pt idx="38">
                  <c:v>Beiersdorf Nivea Sunscreen Adults Cosmetics Crema 50+ 200Ml</c:v>
                </c:pt>
                <c:pt idx="39">
                  <c:v>Beiersdorf Nivea Sunscreen Adults Cosmetics Crema 50+ 40Ml</c:v>
                </c:pt>
                <c:pt idx="40">
                  <c:v>Beiersdorf Nivea Sunscreen Adults Cosmetics Crema 50+ 50Ml</c:v>
                </c:pt>
                <c:pt idx="41">
                  <c:v>Beiersdorf Nivea Sunscreen Adults Cosmetics Fluido 50+ 40Ml</c:v>
                </c:pt>
                <c:pt idx="42">
                  <c:v>Beiersdorf Nivea Sunscreen Adults Cosmetics Gel 50+ 200Ml</c:v>
                </c:pt>
                <c:pt idx="43">
                  <c:v>Beiersdorf Nivea Sunscreen Adults Cosmetics Liquido 30 - 49 200Ml</c:v>
                </c:pt>
                <c:pt idx="44">
                  <c:v>Beiersdorf Nivea Sunscreen Adults Cosmetics Liquido 50 200Ml</c:v>
                </c:pt>
                <c:pt idx="45">
                  <c:v>Beiersdorf Nivea Sunscreen Adults Cosmetics Liquido 50+ 125Ml</c:v>
                </c:pt>
                <c:pt idx="46">
                  <c:v>Beiersdorf Nivea Sunscreen Adults Cosmetics Spray Liquido 50 200Ml</c:v>
                </c:pt>
                <c:pt idx="47">
                  <c:v>Beiersdorf Nivea Sunscreen Kids Cosmetics Gel 50+ 150Ml</c:v>
                </c:pt>
                <c:pt idx="48">
                  <c:v>Beiersdorf Nivea Sunscreen Kids Cosmetics Liquido 50+ 200Ml</c:v>
                </c:pt>
                <c:pt idx="49">
                  <c:v>Beiersdorf Nivea Sunscreen Kids Cosmetics Spray Liquido 50+ 200Ml</c:v>
                </c:pt>
                <c:pt idx="50">
                  <c:v>Isdin Isdin Sunscreen Adults Derma Aceite 30 200Ml</c:v>
                </c:pt>
                <c:pt idx="51">
                  <c:v>Isdin Isdin Sunscreen Adults Derma Crema 30 50Ml</c:v>
                </c:pt>
                <c:pt idx="52">
                  <c:v>Isdin Isdin Sunscreen Adults Derma Crema 50 50Ml</c:v>
                </c:pt>
                <c:pt idx="53">
                  <c:v>Isdin Isdin Sunscreen Adults Derma Crema 50+ 50Ml</c:v>
                </c:pt>
                <c:pt idx="54">
                  <c:v>Isdin Isdin Sunscreen Adults Derma Fluido 50+ 50Ml</c:v>
                </c:pt>
                <c:pt idx="55">
                  <c:v>Isdin Isdin Sunscreen Adults Derma Gel 50+ 250Ml</c:v>
                </c:pt>
                <c:pt idx="56">
                  <c:v>Isdin Isdin Sunscreen Adults Derma Liquido 30 - 49 50Ml</c:v>
                </c:pt>
                <c:pt idx="57">
                  <c:v>Isdin Isdin Sunscreen Adults Derma Locion 50+ 200Ml</c:v>
                </c:pt>
                <c:pt idx="58">
                  <c:v>Isdin Isdin Sunscreen Adults Derma Spray Aceite 50 200Ml</c:v>
                </c:pt>
                <c:pt idx="59">
                  <c:v>Isdin Isdin Sunscreen Adults Derma Spray Liquido 50 100Ml</c:v>
                </c:pt>
                <c:pt idx="60">
                  <c:v>Isdin Isdin Sunscreen Adults Derma Stick 50 10Ml</c:v>
                </c:pt>
                <c:pt idx="61">
                  <c:v>Isdin Isdin Sunscreen Baby Derma Fluido 50 50Ml</c:v>
                </c:pt>
                <c:pt idx="62">
                  <c:v>L'Oreal Garnier Sunscreen Adults Cosmetics Crema 50+ 40Ml</c:v>
                </c:pt>
                <c:pt idx="63">
                  <c:v>L'Oreal Garnier Sunscreen Adults Cosmetics Serum 50+ 40Ml</c:v>
                </c:pt>
                <c:pt idx="64">
                  <c:v>L'Oreal La Roche-Posay Sunscreen Adults Derma Crema 50+ 250Ml</c:v>
                </c:pt>
                <c:pt idx="65">
                  <c:v>L'Oreal La Roche-Posay Sunscreen Adults Derma Crema 50+ 50Ml</c:v>
                </c:pt>
                <c:pt idx="66">
                  <c:v>L'Oreal La Roche-Posay Sunscreen Adults Derma Fluido 50+ 50Ml</c:v>
                </c:pt>
                <c:pt idx="67">
                  <c:v>L'Oreal La Roche-Posay Sunscreen Adults Derma Gel 50+ 50Ml</c:v>
                </c:pt>
                <c:pt idx="68">
                  <c:v>L'Oreal La Roche-Posay Sunscreen Adults Derma Liquido 50+ 50Ml</c:v>
                </c:pt>
                <c:pt idx="69">
                  <c:v>L'Oreal La Roche-Posay Sunscreen Adults Derma Spray Aceite 50 75Ml</c:v>
                </c:pt>
                <c:pt idx="70">
                  <c:v>L'Oreal Loreal Paris Sunscreen Adults Derma Liquido 50+ 40Ml</c:v>
                </c:pt>
                <c:pt idx="71">
                  <c:v>L'Oreal Vichy Sunscreen Adults Derma Crema 50 300Ml</c:v>
                </c:pt>
                <c:pt idx="72">
                  <c:v>L'Oreal Vichy Sunscreen Adults Derma Crema 50 50Ml</c:v>
                </c:pt>
                <c:pt idx="73">
                  <c:v>L'Oreal Vichy Sunscreen Adults Derma Crema 50+ 200Ml</c:v>
                </c:pt>
                <c:pt idx="74">
                  <c:v>L'Oreal Vichy Sunscreen Adults Derma Crema 50+ 40Ml</c:v>
                </c:pt>
              </c:strCache>
            </c:strRef>
          </c:cat>
          <c:val>
            <c:numRef>
              <c:f>Sheet1!$B$2:$B$76</c:f>
              <c:numCache>
                <c:formatCode>General</c:formatCode>
                <c:ptCount val="75"/>
                <c:pt idx="0">
                  <c:v>310.0</c:v>
                </c:pt>
                <c:pt idx="1">
                  <c:v>305.0</c:v>
                </c:pt>
                <c:pt idx="2">
                  <c:v>349.0</c:v>
                </c:pt>
                <c:pt idx="3">
                  <c:v>305.0</c:v>
                </c:pt>
                <c:pt idx="4">
                  <c:v>367.5</c:v>
                </c:pt>
                <c:pt idx="5">
                  <c:v>305.0</c:v>
                </c:pt>
                <c:pt idx="6">
                  <c:v>249.0</c:v>
                </c:pt>
                <c:pt idx="7">
                  <c:v>335.0</c:v>
                </c:pt>
                <c:pt idx="8">
                  <c:v>385.0</c:v>
                </c:pt>
                <c:pt idx="9">
                  <c:v>305.0</c:v>
                </c:pt>
                <c:pt idx="10">
                  <c:v>310.0</c:v>
                </c:pt>
                <c:pt idx="11">
                  <c:v>249.0</c:v>
                </c:pt>
                <c:pt idx="12">
                  <c:v>242.0</c:v>
                </c:pt>
                <c:pt idx="13">
                  <c:v>215.0</c:v>
                </c:pt>
                <c:pt idx="14">
                  <c:v>240.0</c:v>
                </c:pt>
                <c:pt idx="15">
                  <c:v>179.0</c:v>
                </c:pt>
                <c:pt idx="16">
                  <c:v>179.0</c:v>
                </c:pt>
                <c:pt idx="17">
                  <c:v>179.0</c:v>
                </c:pt>
                <c:pt idx="18">
                  <c:v>105.0</c:v>
                </c:pt>
                <c:pt idx="19">
                  <c:v>350.0</c:v>
                </c:pt>
                <c:pt idx="20">
                  <c:v>205.0</c:v>
                </c:pt>
                <c:pt idx="21">
                  <c:v>350.0</c:v>
                </c:pt>
                <c:pt idx="22">
                  <c:v>350.0</c:v>
                </c:pt>
                <c:pt idx="23">
                  <c:v>125.0</c:v>
                </c:pt>
                <c:pt idx="24">
                  <c:v>385.0</c:v>
                </c:pt>
                <c:pt idx="25">
                  <c:v>299.0</c:v>
                </c:pt>
                <c:pt idx="26">
                  <c:v>205.0</c:v>
                </c:pt>
                <c:pt idx="27">
                  <c:v>105.0</c:v>
                </c:pt>
                <c:pt idx="28">
                  <c:v>315.0</c:v>
                </c:pt>
                <c:pt idx="29">
                  <c:v>819.0</c:v>
                </c:pt>
                <c:pt idx="30">
                  <c:v>651.98</c:v>
                </c:pt>
                <c:pt idx="31">
                  <c:v>659.0</c:v>
                </c:pt>
                <c:pt idx="32">
                  <c:v>699.0</c:v>
                </c:pt>
                <c:pt idx="33">
                  <c:v>549.0</c:v>
                </c:pt>
                <c:pt idx="34">
                  <c:v>739.0</c:v>
                </c:pt>
                <c:pt idx="35">
                  <c:v>829.0</c:v>
                </c:pt>
                <c:pt idx="36">
                  <c:v>499.0</c:v>
                </c:pt>
                <c:pt idx="37">
                  <c:v>254.33</c:v>
                </c:pt>
                <c:pt idx="38">
                  <c:v>319.0</c:v>
                </c:pt>
                <c:pt idx="39">
                  <c:v>220.0</c:v>
                </c:pt>
                <c:pt idx="40">
                  <c:v>286.0</c:v>
                </c:pt>
                <c:pt idx="41">
                  <c:v>311.0</c:v>
                </c:pt>
                <c:pt idx="42">
                  <c:v>423.9</c:v>
                </c:pt>
                <c:pt idx="43">
                  <c:v>278.0</c:v>
                </c:pt>
                <c:pt idx="44">
                  <c:v>393.9</c:v>
                </c:pt>
                <c:pt idx="45">
                  <c:v>188.0</c:v>
                </c:pt>
                <c:pt idx="46">
                  <c:v>326.0</c:v>
                </c:pt>
                <c:pt idx="47">
                  <c:v>349.0</c:v>
                </c:pt>
                <c:pt idx="48">
                  <c:v>310.0</c:v>
                </c:pt>
                <c:pt idx="49">
                  <c:v>365.0</c:v>
                </c:pt>
                <c:pt idx="50">
                  <c:v>659.0</c:v>
                </c:pt>
                <c:pt idx="51">
                  <c:v>719.0</c:v>
                </c:pt>
                <c:pt idx="52">
                  <c:v>683.48</c:v>
                </c:pt>
                <c:pt idx="53">
                  <c:v>616.0</c:v>
                </c:pt>
                <c:pt idx="54">
                  <c:v>590.0</c:v>
                </c:pt>
                <c:pt idx="55">
                  <c:v>637.5</c:v>
                </c:pt>
                <c:pt idx="56">
                  <c:v>719.0</c:v>
                </c:pt>
                <c:pt idx="57">
                  <c:v>669.0</c:v>
                </c:pt>
                <c:pt idx="58">
                  <c:v>709.0</c:v>
                </c:pt>
                <c:pt idx="59">
                  <c:v>600.0</c:v>
                </c:pt>
                <c:pt idx="60">
                  <c:v>594.89</c:v>
                </c:pt>
                <c:pt idx="61">
                  <c:v>650.0</c:v>
                </c:pt>
                <c:pt idx="62">
                  <c:v>170.0</c:v>
                </c:pt>
                <c:pt idx="63">
                  <c:v>220.0</c:v>
                </c:pt>
                <c:pt idx="64">
                  <c:v>829.0</c:v>
                </c:pt>
                <c:pt idx="65">
                  <c:v>752.33</c:v>
                </c:pt>
                <c:pt idx="66">
                  <c:v>586.37</c:v>
                </c:pt>
                <c:pt idx="67">
                  <c:v>549.0</c:v>
                </c:pt>
                <c:pt idx="68">
                  <c:v>689.0</c:v>
                </c:pt>
                <c:pt idx="69">
                  <c:v>672.3</c:v>
                </c:pt>
                <c:pt idx="70">
                  <c:v>220.0</c:v>
                </c:pt>
                <c:pt idx="71">
                  <c:v>889.0</c:v>
                </c:pt>
                <c:pt idx="72">
                  <c:v>752.33</c:v>
                </c:pt>
                <c:pt idx="73">
                  <c:v>739.0</c:v>
                </c:pt>
                <c:pt idx="74">
                  <c:v>689.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629.0</a:t>
                    </a:r>
                  </a:p>
                </c:rich>
              </c:tx>
              <c:showLegendKey val="0"/>
              <c:showVal val="1"/>
              <c:showCatName val="0"/>
              <c:showSerName val="0"/>
              <c:showPercent val="0"/>
              <c:showBubbleSize val="0"/>
            </c:dLbl>
            <c:dLbl>
              <c:idx val="3"/>
              <c:tx>
                <c:rich>
                  <a:bodyPr/>
                  <a:lstStyle/>
                  <a:p>
                    <a:r>
                      <a:t>278.0</a:t>
                    </a:r>
                  </a:p>
                </c:rich>
              </c:tx>
              <c:showLegendKey val="0"/>
              <c:showVal val="1"/>
              <c:showCatName val="0"/>
              <c:showSerName val="0"/>
              <c:showPercent val="0"/>
              <c:showBubbleSize val="0"/>
            </c:dLbl>
            <c:dLbl>
              <c:idx val="4"/>
              <c:tx>
                <c:rich>
                  <a:bodyPr/>
                  <a:lstStyle/>
                  <a:p>
                    <a:r>
                      <a:t>60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Tanning Tanning Adults Cosmetics Spray Aceite 0 - 5 237Ml</c:v>
                </c:pt>
                <c:pt idx="1">
                  <c:v>Edgewell Hawaiian Tropic Carrot Tanning Adults Cosmetics Crema 10 - 14 240Ml</c:v>
                </c:pt>
                <c:pt idx="2">
                  <c:v>Australian Gold Australian Gold Tanning Adults Cosmetics Locion 30 237Ml</c:v>
                </c:pt>
                <c:pt idx="3">
                  <c:v>Beiersdorf Nivea Tanning Adults Cosmetics Aceite 6 - 9 200Ml</c:v>
                </c:pt>
                <c:pt idx="4">
                  <c:v>Others Fabricante Unif. Others Marca Unif. Tanning Adults Cosmetics Spray Liquido 0 - 5 177Ml</c:v>
                </c:pt>
              </c:strCache>
            </c:strRef>
          </c:cat>
          <c:val>
            <c:numRef>
              <c:f>Sheet1!$B$2:$B$6</c:f>
              <c:numCache>
                <c:formatCode>General</c:formatCode>
                <c:ptCount val="5"/>
                <c:pt idx="0">
                  <c:v>279.0</c:v>
                </c:pt>
                <c:pt idx="1">
                  <c:v>299.0</c:v>
                </c:pt>
                <c:pt idx="2">
                  <c:v>629.0</c:v>
                </c:pt>
                <c:pt idx="3">
                  <c:v>278.0</c:v>
                </c:pt>
                <c:pt idx="4">
                  <c:v>60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8.42</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249.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15.0</a:t>
                    </a:r>
                  </a:p>
                </c:rich>
              </c:tx>
              <c:showLegendKey val="0"/>
              <c:showVal val="1"/>
              <c:showCatName val="0"/>
              <c:showSerName val="0"/>
              <c:showPercent val="0"/>
              <c:showBubbleSize val="0"/>
            </c:dLbl>
            <c:dLbl>
              <c:idx val="14"/>
              <c:tx>
                <c:rich>
                  <a:bodyPr/>
                  <a:lstStyle/>
                  <a:p>
                    <a:r>
                      <a:t>240.0</a:t>
                    </a:r>
                  </a:p>
                </c:rich>
              </c:tx>
              <c:showLegendKey val="0"/>
              <c:showVal val="1"/>
              <c:showCatName val="0"/>
              <c:showSerName val="0"/>
              <c:showPercent val="0"/>
              <c:showBubbleSize val="0"/>
            </c:dLbl>
            <c:dLbl>
              <c:idx val="15"/>
              <c:tx>
                <c:rich>
                  <a:bodyPr/>
                  <a:lstStyle/>
                  <a:p>
                    <a:r>
                      <a:t>179.0</a:t>
                    </a:r>
                  </a:p>
                </c:rich>
              </c:tx>
              <c:showLegendKey val="0"/>
              <c:showVal val="1"/>
              <c:showCatName val="0"/>
              <c:showSerName val="0"/>
              <c:showPercent val="0"/>
              <c:showBubbleSize val="0"/>
            </c:dLbl>
            <c:dLbl>
              <c:idx val="16"/>
              <c:tx>
                <c:rich>
                  <a:bodyPr/>
                  <a:lstStyle/>
                  <a:p>
                    <a:r>
                      <a:t>179.0</a:t>
                    </a:r>
                  </a:p>
                </c:rich>
              </c:tx>
              <c:showLegendKey val="0"/>
              <c:showVal val="1"/>
              <c:showCatName val="0"/>
              <c:showSerName val="0"/>
              <c:showPercent val="0"/>
              <c:showBubbleSize val="0"/>
            </c:dLbl>
            <c:dLbl>
              <c:idx val="17"/>
              <c:tx>
                <c:rich>
                  <a:bodyPr/>
                  <a:lstStyle/>
                  <a:p>
                    <a:r>
                      <a:t>179.0</a:t>
                    </a:r>
                  </a:p>
                </c:rich>
              </c:tx>
              <c:showLegendKey val="0"/>
              <c:showVal val="1"/>
              <c:showCatName val="0"/>
              <c:showSerName val="0"/>
              <c:showPercent val="0"/>
              <c:showBubbleSize val="0"/>
            </c:dLbl>
            <c:dLbl>
              <c:idx val="18"/>
              <c:tx>
                <c:rich>
                  <a:bodyPr/>
                  <a:lstStyle/>
                  <a:p>
                    <a:r>
                      <a:t>105.0</a:t>
                    </a:r>
                  </a:p>
                </c:rich>
              </c:tx>
              <c:showLegendKey val="0"/>
              <c:showVal val="1"/>
              <c:showCatName val="0"/>
              <c:showSerName val="0"/>
              <c:showPercent val="0"/>
              <c:showBubbleSize val="0"/>
            </c:dLbl>
            <c:dLbl>
              <c:idx val="19"/>
              <c:tx>
                <c:rich>
                  <a:bodyPr/>
                  <a:lstStyle/>
                  <a:p>
                    <a:r>
                      <a:t>350.0</a:t>
                    </a:r>
                  </a:p>
                </c:rich>
              </c:tx>
              <c:showLegendKey val="0"/>
              <c:showVal val="1"/>
              <c:showCatName val="0"/>
              <c:showSerName val="0"/>
              <c:showPercent val="0"/>
              <c:showBubbleSize val="0"/>
            </c:dLbl>
            <c:dLbl>
              <c:idx val="20"/>
              <c:tx>
                <c:rich>
                  <a:bodyPr/>
                  <a:lstStyle/>
                  <a:p>
                    <a:r>
                      <a:t>205.0</a:t>
                    </a:r>
                  </a:p>
                </c:rich>
              </c:tx>
              <c:showLegendKey val="0"/>
              <c:showVal val="1"/>
              <c:showCatName val="0"/>
              <c:showSerName val="0"/>
              <c:showPercent val="0"/>
              <c:showBubbleSize val="0"/>
            </c:dLbl>
            <c:dLbl>
              <c:idx val="21"/>
              <c:tx>
                <c:rich>
                  <a:bodyPr/>
                  <a:lstStyle/>
                  <a:p>
                    <a:r>
                      <a:t>350.0</a:t>
                    </a:r>
                  </a:p>
                </c:rich>
              </c:tx>
              <c:showLegendKey val="0"/>
              <c:showVal val="1"/>
              <c:showCatName val="0"/>
              <c:showSerName val="0"/>
              <c:showPercent val="0"/>
              <c:showBubbleSize val="0"/>
            </c:dLbl>
            <c:dLbl>
              <c:idx val="22"/>
              <c:tx>
                <c:rich>
                  <a:bodyPr/>
                  <a:lstStyle/>
                  <a:p>
                    <a:r>
                      <a:t>350.0</a:t>
                    </a:r>
                  </a:p>
                </c:rich>
              </c:tx>
              <c:showLegendKey val="0"/>
              <c:showVal val="1"/>
              <c:showCatName val="0"/>
              <c:showSerName val="0"/>
              <c:showPercent val="0"/>
              <c:showBubbleSize val="0"/>
            </c:dLbl>
            <c:dLbl>
              <c:idx val="23"/>
              <c:tx>
                <c:rich>
                  <a:bodyPr/>
                  <a:lstStyle/>
                  <a:p>
                    <a:r>
                      <a:t>125.0</a:t>
                    </a:r>
                  </a:p>
                </c:rich>
              </c:tx>
              <c:showLegendKey val="0"/>
              <c:showVal val="1"/>
              <c:showCatName val="0"/>
              <c:showSerName val="0"/>
              <c:showPercent val="0"/>
              <c:showBubbleSize val="0"/>
            </c:dLbl>
            <c:dLbl>
              <c:idx val="24"/>
              <c:tx>
                <c:rich>
                  <a:bodyPr/>
                  <a:lstStyle/>
                  <a:p>
                    <a:r>
                      <a:t>385.0</a:t>
                    </a:r>
                  </a:p>
                </c:rich>
              </c:tx>
              <c:showLegendKey val="0"/>
              <c:showVal val="1"/>
              <c:showCatName val="0"/>
              <c:showSerName val="0"/>
              <c:showPercent val="0"/>
              <c:showBubbleSize val="0"/>
            </c:dLbl>
            <c:dLbl>
              <c:idx val="25"/>
              <c:tx>
                <c:rich>
                  <a:bodyPr/>
                  <a:lstStyle/>
                  <a:p>
                    <a:r>
                      <a:t>299.0</a:t>
                    </a:r>
                  </a:p>
                </c:rich>
              </c:tx>
              <c:showLegendKey val="0"/>
              <c:showVal val="1"/>
              <c:showCatName val="0"/>
              <c:showSerName val="0"/>
              <c:showPercent val="0"/>
              <c:showBubbleSize val="0"/>
            </c:dLbl>
            <c:dLbl>
              <c:idx val="26"/>
              <c:tx>
                <c:rich>
                  <a:bodyPr/>
                  <a:lstStyle/>
                  <a:p>
                    <a:r>
                      <a:t>205.0</a:t>
                    </a:r>
                  </a:p>
                </c:rich>
              </c:tx>
              <c:showLegendKey val="0"/>
              <c:showVal val="1"/>
              <c:showCatName val="0"/>
              <c:showSerName val="0"/>
              <c:showPercent val="0"/>
              <c:showBubbleSize val="0"/>
            </c:dLbl>
            <c:dLbl>
              <c:idx val="27"/>
              <c:tx>
                <c:rich>
                  <a:bodyPr/>
                  <a:lstStyle/>
                  <a:p>
                    <a:r>
                      <a:t>105.0</a:t>
                    </a:r>
                  </a:p>
                </c:rich>
              </c:tx>
              <c:showLegendKey val="0"/>
              <c:showVal val="1"/>
              <c:showCatName val="0"/>
              <c:showSerName val="0"/>
              <c:showPercent val="0"/>
              <c:showBubbleSize val="0"/>
            </c:dLbl>
            <c:dLbl>
              <c:idx val="28"/>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Cosmetics Spray Crema 50+ 220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Ultra Sunscreen Adults Sport Roll-On 60+ 75Ml</c:v>
                </c:pt>
                <c:pt idx="14">
                  <c:v>Edgewell Beauty Care Antioxidant Sunscreen Adults Cosmetics Liquido 15 - 19 100Ml</c:v>
                </c:pt>
                <c:pt idx="15">
                  <c:v>Edgewell Beauty Care Antioxidant Sunscreen Adults Cosmetics Liquido 50+ 50Ml</c:v>
                </c:pt>
                <c:pt idx="16">
                  <c:v>Edgewell Beauty Care Matte Sunscreen Adults Cosmetics Liquido 30 50Ml</c:v>
                </c:pt>
                <c:pt idx="17">
                  <c:v>Edgewell Beauty Care Sensitive Sunscreen Adults Cosmetics Liquido 50+ 50Ml</c:v>
                </c:pt>
                <c:pt idx="18">
                  <c:v>Edgewell Hawaiian Tropic Island Sport Sunscreen Adults Sport Liquido 50 60Ml</c:v>
                </c:pt>
                <c:pt idx="19">
                  <c:v>Edgewell Hawaiian Tropic Other Sunscreen Adults Cosmetics Crema 50+ 240Ml</c:v>
                </c:pt>
                <c:pt idx="20">
                  <c:v>Edgewell Hawaiian Tropic Ozono Sunscreen Adults Cosmetics Liquido 50+ 120Ml</c:v>
                </c:pt>
                <c:pt idx="21">
                  <c:v>Edgewell Hawaiian Tropic Ozono Sunscreen Adults Cosmetics Liquido 50+ 180Ml</c:v>
                </c:pt>
                <c:pt idx="22">
                  <c:v>Edgewell Hawaiian Tropic Ozono Sunscreen Adults Cosmetics Liquido 50+ 240Ml</c:v>
                </c:pt>
                <c:pt idx="23">
                  <c:v>Edgewell Hawaiian Tropic Ozono Sunscreen Adults Cosmetics Liquido 50+ 90Ml</c:v>
                </c:pt>
                <c:pt idx="24">
                  <c:v>Edgewell Hawaiian Tropic Ozono Sunscreen Adults Cosmetics Spray Liquido 50+ 180Ml</c:v>
                </c:pt>
                <c:pt idx="25">
                  <c:v>Edgewell Hawaiian Tropic Sheer Touch Sunscreen Adults Cosmetics Crema 30 - 49 240Ml</c:v>
                </c:pt>
                <c:pt idx="26">
                  <c:v>Edgewell Hawaiian Tropic Sheer Touch Sunscreen Adults Cosmetics Crema 50 120Ml</c:v>
                </c:pt>
                <c:pt idx="27">
                  <c:v>Edgewell Hawaiian Tropic Sheer Touch Sunscreen Adults Cosmetics Liquido 30 - 49 60Ml</c:v>
                </c:pt>
                <c:pt idx="28">
                  <c:v>Edgewell Hawaiian Tropic Tanning Sunscreen Adults Cosmetics Spray Liquido 15 - 19 220Ml</c:v>
                </c:pt>
              </c:strCache>
            </c:strRef>
          </c:cat>
          <c:val>
            <c:numRef>
              <c:f>Sheet1!$B$2:$B$30</c:f>
              <c:numCache>
                <c:formatCode>General</c:formatCode>
                <c:ptCount val="29"/>
                <c:pt idx="0">
                  <c:v>310.0</c:v>
                </c:pt>
                <c:pt idx="1">
                  <c:v>305.0</c:v>
                </c:pt>
                <c:pt idx="2">
                  <c:v>349.0</c:v>
                </c:pt>
                <c:pt idx="3">
                  <c:v>305.0</c:v>
                </c:pt>
                <c:pt idx="4">
                  <c:v>368.42</c:v>
                </c:pt>
                <c:pt idx="5">
                  <c:v>305.0</c:v>
                </c:pt>
                <c:pt idx="6">
                  <c:v>249.0</c:v>
                </c:pt>
                <c:pt idx="7">
                  <c:v>335.0</c:v>
                </c:pt>
                <c:pt idx="8">
                  <c:v>385.0</c:v>
                </c:pt>
                <c:pt idx="9">
                  <c:v>305.0</c:v>
                </c:pt>
                <c:pt idx="10">
                  <c:v>310.0</c:v>
                </c:pt>
                <c:pt idx="11">
                  <c:v>249.0</c:v>
                </c:pt>
                <c:pt idx="12">
                  <c:v>242.0</c:v>
                </c:pt>
                <c:pt idx="13">
                  <c:v>215.0</c:v>
                </c:pt>
                <c:pt idx="14">
                  <c:v>240.0</c:v>
                </c:pt>
                <c:pt idx="15">
                  <c:v>179.0</c:v>
                </c:pt>
                <c:pt idx="16">
                  <c:v>179.0</c:v>
                </c:pt>
                <c:pt idx="17">
                  <c:v>179.0</c:v>
                </c:pt>
                <c:pt idx="18">
                  <c:v>105.0</c:v>
                </c:pt>
                <c:pt idx="19">
                  <c:v>350.0</c:v>
                </c:pt>
                <c:pt idx="20">
                  <c:v>205.0</c:v>
                </c:pt>
                <c:pt idx="21">
                  <c:v>350.0</c:v>
                </c:pt>
                <c:pt idx="22">
                  <c:v>350.0</c:v>
                </c:pt>
                <c:pt idx="23">
                  <c:v>125.0</c:v>
                </c:pt>
                <c:pt idx="24">
                  <c:v>385.0</c:v>
                </c:pt>
                <c:pt idx="25">
                  <c:v>299.0</c:v>
                </c:pt>
                <c:pt idx="26">
                  <c:v>205.0</c:v>
                </c:pt>
                <c:pt idx="27">
                  <c:v>105.0</c:v>
                </c:pt>
                <c:pt idx="28">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Tanning Tanning Adults Cosmetics Spray Aceite 0 - 5 237Ml</c:v>
                </c:pt>
                <c:pt idx="1">
                  <c:v>Edgewell Hawaiian Tropic Carrot Tanning Adults Cosmetics Crema 10 - 14 240Ml</c:v>
                </c:pt>
              </c:strCache>
            </c:strRef>
          </c:cat>
          <c:val>
            <c:numRef>
              <c:f>Sheet1!$B$2:$B$3</c:f>
              <c:numCache>
                <c:formatCode>General</c:formatCode>
                <c:ptCount val="2"/>
                <c:pt idx="0">
                  <c:v>279.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1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205.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12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299.0</a:t>
                    </a:r>
                  </a:p>
                </c:rich>
              </c:tx>
              <c:showLegendKey val="0"/>
              <c:showVal val="1"/>
              <c:showCatName val="0"/>
              <c:showSerName val="0"/>
              <c:showPercent val="0"/>
              <c:showBubbleSize val="0"/>
            </c:dLbl>
            <c:dLbl>
              <c:idx val="9"/>
              <c:tx>
                <c:rich>
                  <a:bodyPr/>
                  <a:lstStyle/>
                  <a:p>
                    <a:r>
                      <a:t>205.0</a:t>
                    </a:r>
                  </a:p>
                </c:rich>
              </c:tx>
              <c:showLegendKey val="0"/>
              <c:showVal val="1"/>
              <c:showCatName val="0"/>
              <c:showSerName val="0"/>
              <c:showPercent val="0"/>
              <c:showBubbleSize val="0"/>
            </c:dLbl>
            <c:dLbl>
              <c:idx val="1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After Sun After Sun Adults Cosmetics Gel 0 - 5 240Ml</c:v>
                </c:pt>
                <c:pt idx="1">
                  <c:v>Edgewell Hawaiian Tropic Carrot Tanning Adults Cosmetics Crema 10 - 14 240Ml</c:v>
                </c:pt>
                <c:pt idx="2">
                  <c:v>Edgewell Hawaiian Tropic Island Sport Sunscreen Adults Sport Liquido 50 60Ml</c:v>
                </c:pt>
                <c:pt idx="3">
                  <c:v>Edgewell Hawaiian Tropic Other Sunscreen Adults Cosmetics Crema 50+ 240Ml</c:v>
                </c:pt>
                <c:pt idx="4">
                  <c:v>Edgewell Hawaiian Tropic Ozono Sunscreen Adults Cosmetics Liquido 50+ 120Ml</c:v>
                </c:pt>
                <c:pt idx="5">
                  <c:v>Edgewell Hawaiian Tropic Ozono Sunscreen Adults Cosmetics Liquido 50+ 240Ml</c:v>
                </c:pt>
                <c:pt idx="6">
                  <c:v>Edgewell Hawaiian Tropic Ozono Sunscreen Adults Cosmetics Liquido 50+ 90Ml</c:v>
                </c:pt>
                <c:pt idx="7">
                  <c:v>Edgewell Hawaiian Tropic Ozono Sunscreen Adults Cosmetics Spray Liquido 50+ 180Ml</c:v>
                </c:pt>
                <c:pt idx="8">
                  <c:v>Edgewell Hawaiian Tropic Sheer Touch Sunscreen Adults Cosmetics Crema 30 - 49 240Ml</c:v>
                </c:pt>
                <c:pt idx="9">
                  <c:v>Edgewell Hawaiian Tropic Sheer Touch Sunscreen Adults Cosmetics Crema 50 120Ml</c:v>
                </c:pt>
                <c:pt idx="10">
                  <c:v>Edgewell Hawaiian Tropic Sheer Touch Sunscreen Adults Cosmetics Liquido 30 - 49 60Ml</c:v>
                </c:pt>
              </c:strCache>
            </c:strRef>
          </c:cat>
          <c:val>
            <c:numRef>
              <c:f>Sheet1!$B$2:$B$12</c:f>
              <c:numCache>
                <c:formatCode>General</c:formatCode>
                <c:ptCount val="11"/>
                <c:pt idx="0">
                  <c:v>299.0</c:v>
                </c:pt>
                <c:pt idx="1">
                  <c:v>299.0</c:v>
                </c:pt>
                <c:pt idx="2">
                  <c:v>105.0</c:v>
                </c:pt>
                <c:pt idx="3">
                  <c:v>350.0</c:v>
                </c:pt>
                <c:pt idx="4">
                  <c:v>205.0</c:v>
                </c:pt>
                <c:pt idx="5">
                  <c:v>350.0</c:v>
                </c:pt>
                <c:pt idx="6">
                  <c:v>125.0</c:v>
                </c:pt>
                <c:pt idx="7">
                  <c:v>385.0</c:v>
                </c:pt>
                <c:pt idx="8">
                  <c:v>299.0</c:v>
                </c:pt>
                <c:pt idx="9">
                  <c:v>205.0</c:v>
                </c:pt>
                <c:pt idx="1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Tanning Tanning Adults Cosmetics Spray Aceite 0 - 5 237Ml</c:v>
                </c:pt>
                <c:pt idx="1">
                  <c:v>Edgewell Hawaiian Tropic Carrot Tanning Adults Cosmetics Crema 10 - 14 240Ml</c:v>
                </c:pt>
              </c:strCache>
            </c:strRef>
          </c:cat>
          <c:val>
            <c:numRef>
              <c:f>Sheet1!$B$2:$B$3</c:f>
              <c:numCache>
                <c:formatCode>General</c:formatCode>
                <c:ptCount val="2"/>
                <c:pt idx="0">
                  <c:v>279.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4.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9.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dLbl>
              <c:idx val="12"/>
              <c:tx>
                <c:rich>
                  <a:bodyPr/>
                  <a:lstStyle/>
                  <a:p>
                    <a:r>
                      <a:t>215.0</a:t>
                    </a:r>
                  </a:p>
                </c:rich>
              </c:tx>
              <c:showLegendKey val="0"/>
              <c:showVal val="1"/>
              <c:showCatName val="0"/>
              <c:showSerName val="0"/>
              <c:showPercent val="0"/>
              <c:showBubbleSize val="0"/>
            </c:dLbl>
            <c:dLbl>
              <c:idx val="13"/>
              <c:tx>
                <c:rich>
                  <a:bodyPr/>
                  <a:lstStyle/>
                  <a:p>
                    <a:r>
                      <a:t>179.0</a:t>
                    </a:r>
                  </a:p>
                </c:rich>
              </c:tx>
              <c:showLegendKey val="0"/>
              <c:showVal val="1"/>
              <c:showCatName val="0"/>
              <c:showSerName val="0"/>
              <c:showPercent val="0"/>
              <c:showBubbleSize val="0"/>
            </c:dLbl>
            <c:dLbl>
              <c:idx val="14"/>
              <c:tx>
                <c:rich>
                  <a:bodyPr/>
                  <a:lstStyle/>
                  <a:p>
                    <a:r>
                      <a:t>179.0</a:t>
                    </a:r>
                  </a:p>
                </c:rich>
              </c:tx>
              <c:showLegendKey val="0"/>
              <c:showVal val="1"/>
              <c:showCatName val="0"/>
              <c:showSerName val="0"/>
              <c:showPercent val="0"/>
              <c:showBubbleSize val="0"/>
            </c:dLbl>
            <c:dLbl>
              <c:idx val="15"/>
              <c:tx>
                <c:rich>
                  <a:bodyPr/>
                  <a:lstStyle/>
                  <a:p>
                    <a:r>
                      <a:t>179.0</a:t>
                    </a:r>
                  </a:p>
                </c:rich>
              </c:tx>
              <c:showLegendKey val="0"/>
              <c:showVal val="1"/>
              <c:showCatName val="0"/>
              <c:showSerName val="0"/>
              <c:showPercent val="0"/>
              <c:showBubbleSize val="0"/>
            </c:dLbl>
            <c:dLbl>
              <c:idx val="16"/>
              <c:tx>
                <c:rich>
                  <a:bodyPr/>
                  <a:lstStyle/>
                  <a:p>
                    <a:r>
                      <a:t>105.0</a:t>
                    </a:r>
                  </a:p>
                </c:rich>
              </c:tx>
              <c:showLegendKey val="0"/>
              <c:showVal val="1"/>
              <c:showCatName val="0"/>
              <c:showSerName val="0"/>
              <c:showPercent val="0"/>
              <c:showBubbleSize val="0"/>
            </c:dLbl>
            <c:dLbl>
              <c:idx val="17"/>
              <c:tx>
                <c:rich>
                  <a:bodyPr/>
                  <a:lstStyle/>
                  <a:p>
                    <a:r>
                      <a:t>350.0</a:t>
                    </a:r>
                  </a:p>
                </c:rich>
              </c:tx>
              <c:showLegendKey val="0"/>
              <c:showVal val="1"/>
              <c:showCatName val="0"/>
              <c:showSerName val="0"/>
              <c:showPercent val="0"/>
              <c:showBubbleSize val="0"/>
            </c:dLbl>
            <c:dLbl>
              <c:idx val="18"/>
              <c:tx>
                <c:rich>
                  <a:bodyPr/>
                  <a:lstStyle/>
                  <a:p>
                    <a:r>
                      <a:t>205.0</a:t>
                    </a:r>
                  </a:p>
                </c:rich>
              </c:tx>
              <c:showLegendKey val="0"/>
              <c:showVal val="1"/>
              <c:showCatName val="0"/>
              <c:showSerName val="0"/>
              <c:showPercent val="0"/>
              <c:showBubbleSize val="0"/>
            </c:dLbl>
            <c:dLbl>
              <c:idx val="19"/>
              <c:tx>
                <c:rich>
                  <a:bodyPr/>
                  <a:lstStyle/>
                  <a:p>
                    <a:r>
                      <a:t>350.0</a:t>
                    </a:r>
                  </a:p>
                </c:rich>
              </c:tx>
              <c:showLegendKey val="0"/>
              <c:showVal val="1"/>
              <c:showCatName val="0"/>
              <c:showSerName val="0"/>
              <c:showPercent val="0"/>
              <c:showBubbleSize val="0"/>
            </c:dLbl>
            <c:dLbl>
              <c:idx val="20"/>
              <c:tx>
                <c:rich>
                  <a:bodyPr/>
                  <a:lstStyle/>
                  <a:p>
                    <a:r>
                      <a:t>350.0</a:t>
                    </a:r>
                  </a:p>
                </c:rich>
              </c:tx>
              <c:showLegendKey val="0"/>
              <c:showVal val="1"/>
              <c:showCatName val="0"/>
              <c:showSerName val="0"/>
              <c:showPercent val="0"/>
              <c:showBubbleSize val="0"/>
            </c:dLbl>
            <c:dLbl>
              <c:idx val="21"/>
              <c:tx>
                <c:rich>
                  <a:bodyPr/>
                  <a:lstStyle/>
                  <a:p>
                    <a:r>
                      <a:t>125.0</a:t>
                    </a:r>
                  </a:p>
                </c:rich>
              </c:tx>
              <c:showLegendKey val="0"/>
              <c:showVal val="1"/>
              <c:showCatName val="0"/>
              <c:showSerName val="0"/>
              <c:showPercent val="0"/>
              <c:showBubbleSize val="0"/>
            </c:dLbl>
            <c:dLbl>
              <c:idx val="22"/>
              <c:tx>
                <c:rich>
                  <a:bodyPr/>
                  <a:lstStyle/>
                  <a:p>
                    <a:r>
                      <a:t>385.0</a:t>
                    </a:r>
                  </a:p>
                </c:rich>
              </c:tx>
              <c:showLegendKey val="0"/>
              <c:showVal val="1"/>
              <c:showCatName val="0"/>
              <c:showSerName val="0"/>
              <c:showPercent val="0"/>
              <c:showBubbleSize val="0"/>
            </c:dLbl>
            <c:dLbl>
              <c:idx val="23"/>
              <c:tx>
                <c:rich>
                  <a:bodyPr/>
                  <a:lstStyle/>
                  <a:p>
                    <a:r>
                      <a:t>299.0</a:t>
                    </a:r>
                  </a:p>
                </c:rich>
              </c:tx>
              <c:showLegendKey val="0"/>
              <c:showVal val="1"/>
              <c:showCatName val="0"/>
              <c:showSerName val="0"/>
              <c:showPercent val="0"/>
              <c:showBubbleSize val="0"/>
            </c:dLbl>
            <c:dLbl>
              <c:idx val="24"/>
              <c:tx>
                <c:rich>
                  <a:bodyPr/>
                  <a:lstStyle/>
                  <a:p>
                    <a:r>
                      <a:t>205.0</a:t>
                    </a:r>
                  </a:p>
                </c:rich>
              </c:tx>
              <c:showLegendKey val="0"/>
              <c:showVal val="1"/>
              <c:showCatName val="0"/>
              <c:showSerName val="0"/>
              <c:showPercent val="0"/>
              <c:showBubbleSize val="0"/>
            </c:dLbl>
            <c:dLbl>
              <c:idx val="25"/>
              <c:tx>
                <c:rich>
                  <a:bodyPr/>
                  <a:lstStyle/>
                  <a:p>
                    <a:r>
                      <a:t>105.0</a:t>
                    </a:r>
                  </a:p>
                </c:rich>
              </c:tx>
              <c:showLegendKey val="0"/>
              <c:showVal val="1"/>
              <c:showCatName val="0"/>
              <c:showSerName val="0"/>
              <c:showPercent val="0"/>
              <c:showBubbleSize val="0"/>
            </c:dLbl>
            <c:dLbl>
              <c:idx val="26"/>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Adults Sport Locion 50 180Ml</c:v>
                </c:pt>
                <c:pt idx="11">
                  <c:v>Edgewell Banana Boat Mineral Sunscreen Kids Cosmetics Locion 50 180Ml</c:v>
                </c:pt>
                <c:pt idx="12">
                  <c:v>Edgewell Banana Boat Ultra Sunscreen Adults Sport Roll-On 60+ 75Ml</c:v>
                </c:pt>
                <c:pt idx="13">
                  <c:v>Edgewell Beauty Care Antioxidant Sunscreen Adults Cosmetics Liquido 50+ 50Ml</c:v>
                </c:pt>
                <c:pt idx="14">
                  <c:v>Edgewell Beauty Care Matte Sunscreen Adults Cosmetics Liquido 30 50Ml</c:v>
                </c:pt>
                <c:pt idx="15">
                  <c:v>Edgewell Beauty Care Sensitive Sunscreen Adults Cosmetics Liquido 50+ 50Ml</c:v>
                </c:pt>
                <c:pt idx="16">
                  <c:v>Edgewell Hawaiian Tropic Island Sport Sunscreen Adults Sport Liquido 50 60Ml</c:v>
                </c:pt>
                <c:pt idx="17">
                  <c:v>Edgewell Hawaiian Tropic Other Sunscreen Adults Cosmetics Crema 50+ 240Ml</c:v>
                </c:pt>
                <c:pt idx="18">
                  <c:v>Edgewell Hawaiian Tropic Ozono Sunscreen Adults Cosmetics Liquido 50+ 120Ml</c:v>
                </c:pt>
                <c:pt idx="19">
                  <c:v>Edgewell Hawaiian Tropic Ozono Sunscreen Adults Cosmetics Liquido 50+ 180Ml</c:v>
                </c:pt>
                <c:pt idx="20">
                  <c:v>Edgewell Hawaiian Tropic Ozono Sunscreen Adults Cosmetics Liquido 50+ 240Ml</c:v>
                </c:pt>
                <c:pt idx="21">
                  <c:v>Edgewell Hawaiian Tropic Ozono Sunscreen Adults Cosmetics Liquido 50+ 90Ml</c:v>
                </c:pt>
                <c:pt idx="22">
                  <c:v>Edgewell Hawaiian Tropic Ozono Sunscreen Adults Cosmetics Spray Liquido 50+ 180Ml</c:v>
                </c:pt>
                <c:pt idx="23">
                  <c:v>Edgewell Hawaiian Tropic Sheer Touch Sunscreen Adults Cosmetics Crema 30 - 49 240Ml</c:v>
                </c:pt>
                <c:pt idx="24">
                  <c:v>Edgewell Hawaiian Tropic Sheer Touch Sunscreen Adults Cosmetics Crema 50 120Ml</c:v>
                </c:pt>
                <c:pt idx="25">
                  <c:v>Edgewell Hawaiian Tropic Sheer Touch Sunscreen Adults Cosmetics Liquido 30 - 49 60Ml</c:v>
                </c:pt>
                <c:pt idx="26">
                  <c:v>Edgewell Hawaiian Tropic Tanning Sunscreen Adults Cosmetics Spray Liquido 15 - 19 220Ml</c:v>
                </c:pt>
              </c:strCache>
            </c:strRef>
          </c:cat>
          <c:val>
            <c:numRef>
              <c:f>Sheet1!$B$2:$B$28</c:f>
              <c:numCache>
                <c:formatCode>General</c:formatCode>
                <c:ptCount val="27"/>
                <c:pt idx="0">
                  <c:v>310.0</c:v>
                </c:pt>
                <c:pt idx="1">
                  <c:v>305.0</c:v>
                </c:pt>
                <c:pt idx="2">
                  <c:v>349.0</c:v>
                </c:pt>
                <c:pt idx="3">
                  <c:v>305.0</c:v>
                </c:pt>
                <c:pt idx="4">
                  <c:v>364.0</c:v>
                </c:pt>
                <c:pt idx="5">
                  <c:v>305.0</c:v>
                </c:pt>
                <c:pt idx="6">
                  <c:v>335.0</c:v>
                </c:pt>
                <c:pt idx="7">
                  <c:v>385.0</c:v>
                </c:pt>
                <c:pt idx="8">
                  <c:v>305.0</c:v>
                </c:pt>
                <c:pt idx="9">
                  <c:v>310.0</c:v>
                </c:pt>
                <c:pt idx="10">
                  <c:v>249.0</c:v>
                </c:pt>
                <c:pt idx="11">
                  <c:v>242.0</c:v>
                </c:pt>
                <c:pt idx="12">
                  <c:v>215.0</c:v>
                </c:pt>
                <c:pt idx="13">
                  <c:v>179.0</c:v>
                </c:pt>
                <c:pt idx="14">
                  <c:v>179.0</c:v>
                </c:pt>
                <c:pt idx="15">
                  <c:v>179.0</c:v>
                </c:pt>
                <c:pt idx="16">
                  <c:v>105.0</c:v>
                </c:pt>
                <c:pt idx="17">
                  <c:v>350.0</c:v>
                </c:pt>
                <c:pt idx="18">
                  <c:v>205.0</c:v>
                </c:pt>
                <c:pt idx="19">
                  <c:v>350.0</c:v>
                </c:pt>
                <c:pt idx="20">
                  <c:v>350.0</c:v>
                </c:pt>
                <c:pt idx="21">
                  <c:v>125.0</c:v>
                </c:pt>
                <c:pt idx="22">
                  <c:v>385.0</c:v>
                </c:pt>
                <c:pt idx="23">
                  <c:v>299.0</c:v>
                </c:pt>
                <c:pt idx="24">
                  <c:v>205.0</c:v>
                </c:pt>
                <c:pt idx="25">
                  <c:v>105.0</c:v>
                </c:pt>
                <c:pt idx="26">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Tanning Tanning Adults Cosmetics Spray Aceite 0 - 5 237Ml</c:v>
                </c:pt>
                <c:pt idx="1">
                  <c:v>Edgewell Hawaiian Tropic Carrot Tanning Adults Cosmetics Crema 10 - 14 240Ml</c:v>
                </c:pt>
              </c:strCache>
            </c:strRef>
          </c:cat>
          <c:val>
            <c:numRef>
              <c:f>Sheet1!$B$2:$B$3</c:f>
              <c:numCache>
                <c:formatCode>General</c:formatCode>
                <c:ptCount val="2"/>
                <c:pt idx="0">
                  <c:v>279.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76.2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9.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dLbl>
              <c:idx val="12"/>
              <c:tx>
                <c:rich>
                  <a:bodyPr/>
                  <a:lstStyle/>
                  <a:p>
                    <a:r>
                      <a:t>215.0</a:t>
                    </a:r>
                  </a:p>
                </c:rich>
              </c:tx>
              <c:showLegendKey val="0"/>
              <c:showVal val="1"/>
              <c:showCatName val="0"/>
              <c:showSerName val="0"/>
              <c:showPercent val="0"/>
              <c:showBubbleSize val="0"/>
            </c:dLbl>
            <c:dLbl>
              <c:idx val="13"/>
              <c:tx>
                <c:rich>
                  <a:bodyPr/>
                  <a:lstStyle/>
                  <a:p>
                    <a:r>
                      <a:t>240.0</a:t>
                    </a:r>
                  </a:p>
                </c:rich>
              </c:tx>
              <c:showLegendKey val="0"/>
              <c:showVal val="1"/>
              <c:showCatName val="0"/>
              <c:showSerName val="0"/>
              <c:showPercent val="0"/>
              <c:showBubbleSize val="0"/>
            </c:dLbl>
            <c:dLbl>
              <c:idx val="14"/>
              <c:tx>
                <c:rich>
                  <a:bodyPr/>
                  <a:lstStyle/>
                  <a:p>
                    <a:r>
                      <a:t>179.0</a:t>
                    </a:r>
                  </a:p>
                </c:rich>
              </c:tx>
              <c:showLegendKey val="0"/>
              <c:showVal val="1"/>
              <c:showCatName val="0"/>
              <c:showSerName val="0"/>
              <c:showPercent val="0"/>
              <c:showBubbleSize val="0"/>
            </c:dLbl>
            <c:dLbl>
              <c:idx val="15"/>
              <c:tx>
                <c:rich>
                  <a:bodyPr/>
                  <a:lstStyle/>
                  <a:p>
                    <a:r>
                      <a:t>179.0</a:t>
                    </a:r>
                  </a:p>
                </c:rich>
              </c:tx>
              <c:showLegendKey val="0"/>
              <c:showVal val="1"/>
              <c:showCatName val="0"/>
              <c:showSerName val="0"/>
              <c:showPercent val="0"/>
              <c:showBubbleSize val="0"/>
            </c:dLbl>
            <c:dLbl>
              <c:idx val="16"/>
              <c:tx>
                <c:rich>
                  <a:bodyPr/>
                  <a:lstStyle/>
                  <a:p>
                    <a:r>
                      <a:t>179.0</a:t>
                    </a:r>
                  </a:p>
                </c:rich>
              </c:tx>
              <c:showLegendKey val="0"/>
              <c:showVal val="1"/>
              <c:showCatName val="0"/>
              <c:showSerName val="0"/>
              <c:showPercent val="0"/>
              <c:showBubbleSize val="0"/>
            </c:dLbl>
            <c:dLbl>
              <c:idx val="17"/>
              <c:tx>
                <c:rich>
                  <a:bodyPr/>
                  <a:lstStyle/>
                  <a:p>
                    <a:r>
                      <a:t>105.0</a:t>
                    </a:r>
                  </a:p>
                </c:rich>
              </c:tx>
              <c:showLegendKey val="0"/>
              <c:showVal val="1"/>
              <c:showCatName val="0"/>
              <c:showSerName val="0"/>
              <c:showPercent val="0"/>
              <c:showBubbleSize val="0"/>
            </c:dLbl>
            <c:dLbl>
              <c:idx val="18"/>
              <c:tx>
                <c:rich>
                  <a:bodyPr/>
                  <a:lstStyle/>
                  <a:p>
                    <a:r>
                      <a:t>350.0</a:t>
                    </a:r>
                  </a:p>
                </c:rich>
              </c:tx>
              <c:showLegendKey val="0"/>
              <c:showVal val="1"/>
              <c:showCatName val="0"/>
              <c:showSerName val="0"/>
              <c:showPercent val="0"/>
              <c:showBubbleSize val="0"/>
            </c:dLbl>
            <c:dLbl>
              <c:idx val="19"/>
              <c:tx>
                <c:rich>
                  <a:bodyPr/>
                  <a:lstStyle/>
                  <a:p>
                    <a:r>
                      <a:t>205.0</a:t>
                    </a:r>
                  </a:p>
                </c:rich>
              </c:tx>
              <c:showLegendKey val="0"/>
              <c:showVal val="1"/>
              <c:showCatName val="0"/>
              <c:showSerName val="0"/>
              <c:showPercent val="0"/>
              <c:showBubbleSize val="0"/>
            </c:dLbl>
            <c:dLbl>
              <c:idx val="20"/>
              <c:tx>
                <c:rich>
                  <a:bodyPr/>
                  <a:lstStyle/>
                  <a:p>
                    <a:r>
                      <a:t>350.0</a:t>
                    </a:r>
                  </a:p>
                </c:rich>
              </c:tx>
              <c:showLegendKey val="0"/>
              <c:showVal val="1"/>
              <c:showCatName val="0"/>
              <c:showSerName val="0"/>
              <c:showPercent val="0"/>
              <c:showBubbleSize val="0"/>
            </c:dLbl>
            <c:dLbl>
              <c:idx val="21"/>
              <c:tx>
                <c:rich>
                  <a:bodyPr/>
                  <a:lstStyle/>
                  <a:p>
                    <a:r>
                      <a:t>350.0</a:t>
                    </a:r>
                  </a:p>
                </c:rich>
              </c:tx>
              <c:showLegendKey val="0"/>
              <c:showVal val="1"/>
              <c:showCatName val="0"/>
              <c:showSerName val="0"/>
              <c:showPercent val="0"/>
              <c:showBubbleSize val="0"/>
            </c:dLbl>
            <c:dLbl>
              <c:idx val="22"/>
              <c:tx>
                <c:rich>
                  <a:bodyPr/>
                  <a:lstStyle/>
                  <a:p>
                    <a:r>
                      <a:t>125.0</a:t>
                    </a:r>
                  </a:p>
                </c:rich>
              </c:tx>
              <c:showLegendKey val="0"/>
              <c:showVal val="1"/>
              <c:showCatName val="0"/>
              <c:showSerName val="0"/>
              <c:showPercent val="0"/>
              <c:showBubbleSize val="0"/>
            </c:dLbl>
            <c:dLbl>
              <c:idx val="23"/>
              <c:tx>
                <c:rich>
                  <a:bodyPr/>
                  <a:lstStyle/>
                  <a:p>
                    <a:r>
                      <a:t>385.0</a:t>
                    </a:r>
                  </a:p>
                </c:rich>
              </c:tx>
              <c:showLegendKey val="0"/>
              <c:showVal val="1"/>
              <c:showCatName val="0"/>
              <c:showSerName val="0"/>
              <c:showPercent val="0"/>
              <c:showBubbleSize val="0"/>
            </c:dLbl>
            <c:dLbl>
              <c:idx val="24"/>
              <c:tx>
                <c:rich>
                  <a:bodyPr/>
                  <a:lstStyle/>
                  <a:p>
                    <a:r>
                      <a:t>299.0</a:t>
                    </a:r>
                  </a:p>
                </c:rich>
              </c:tx>
              <c:showLegendKey val="0"/>
              <c:showVal val="1"/>
              <c:showCatName val="0"/>
              <c:showSerName val="0"/>
              <c:showPercent val="0"/>
              <c:showBubbleSize val="0"/>
            </c:dLbl>
            <c:dLbl>
              <c:idx val="25"/>
              <c:tx>
                <c:rich>
                  <a:bodyPr/>
                  <a:lstStyle/>
                  <a:p>
                    <a:r>
                      <a:t>205.0</a:t>
                    </a:r>
                  </a:p>
                </c:rich>
              </c:tx>
              <c:showLegendKey val="0"/>
              <c:showVal val="1"/>
              <c:showCatName val="0"/>
              <c:showSerName val="0"/>
              <c:showPercent val="0"/>
              <c:showBubbleSize val="0"/>
            </c:dLbl>
            <c:dLbl>
              <c:idx val="26"/>
              <c:tx>
                <c:rich>
                  <a:bodyPr/>
                  <a:lstStyle/>
                  <a:p>
                    <a:r>
                      <a:t>105.0</a:t>
                    </a:r>
                  </a:p>
                </c:rich>
              </c:tx>
              <c:showLegendKey val="0"/>
              <c:showVal val="1"/>
              <c:showCatName val="0"/>
              <c:showSerName val="0"/>
              <c:showPercent val="0"/>
              <c:showBubbleSize val="0"/>
            </c:dLbl>
            <c:dLbl>
              <c:idx val="27"/>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9</c:f>
              <c:strCache>
                <c:ptCount val="28"/>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Adults Sport Locion 50 180Ml</c:v>
                </c:pt>
                <c:pt idx="11">
                  <c:v>Edgewell Banana Boat Mineral Sunscreen Kids Cosmetics Locion 50 180Ml</c:v>
                </c:pt>
                <c:pt idx="12">
                  <c:v>Edgewell Banana Boat Ultra Sunscreen Adults Sport Roll-On 60+ 75Ml</c:v>
                </c:pt>
                <c:pt idx="13">
                  <c:v>Edgewell Beauty Care Antioxidant Sunscreen Adults Cosmetics Liquido 15 - 19 100Ml</c:v>
                </c:pt>
                <c:pt idx="14">
                  <c:v>Edgewell Beauty Care Antioxidant Sunscreen Adults Cosmetics Liquido 50+ 50Ml</c:v>
                </c:pt>
                <c:pt idx="15">
                  <c:v>Edgewell Beauty Care Matte Sunscreen Adults Cosmetics Liquido 30 50Ml</c:v>
                </c:pt>
                <c:pt idx="16">
                  <c:v>Edgewell Beauty Care Sensitive Sunscreen Adults Cosmetics Liquido 50+ 50Ml</c:v>
                </c:pt>
                <c:pt idx="17">
                  <c:v>Edgewell Hawaiian Tropic Island Sport Sunscreen Adults Sport Liquido 50 60Ml</c:v>
                </c:pt>
                <c:pt idx="18">
                  <c:v>Edgewell Hawaiian Tropic Other Sunscreen Adults Cosmetics Crema 50+ 240Ml</c:v>
                </c:pt>
                <c:pt idx="19">
                  <c:v>Edgewell Hawaiian Tropic Ozono Sunscreen Adults Cosmetics Liquido 50+ 120Ml</c:v>
                </c:pt>
                <c:pt idx="20">
                  <c:v>Edgewell Hawaiian Tropic Ozono Sunscreen Adults Cosmetics Liquido 50+ 180Ml</c:v>
                </c:pt>
                <c:pt idx="21">
                  <c:v>Edgewell Hawaiian Tropic Ozono Sunscreen Adults Cosmetics Liquido 50+ 240Ml</c:v>
                </c:pt>
                <c:pt idx="22">
                  <c:v>Edgewell Hawaiian Tropic Ozono Sunscreen Adults Cosmetics Liquido 50+ 90Ml</c:v>
                </c:pt>
                <c:pt idx="23">
                  <c:v>Edgewell Hawaiian Tropic Ozono Sunscreen Adults Cosmetics Spray Liquido 50+ 180Ml</c:v>
                </c:pt>
                <c:pt idx="24">
                  <c:v>Edgewell Hawaiian Tropic Sheer Touch Sunscreen Adults Cosmetics Crema 30 - 49 240Ml</c:v>
                </c:pt>
                <c:pt idx="25">
                  <c:v>Edgewell Hawaiian Tropic Sheer Touch Sunscreen Adults Cosmetics Crema 50 120Ml</c:v>
                </c:pt>
                <c:pt idx="26">
                  <c:v>Edgewell Hawaiian Tropic Sheer Touch Sunscreen Adults Cosmetics Liquido 30 - 49 60Ml</c:v>
                </c:pt>
                <c:pt idx="27">
                  <c:v>Edgewell Hawaiian Tropic Tanning Sunscreen Adults Cosmetics Spray Liquido 15 - 19 220Ml</c:v>
                </c:pt>
              </c:strCache>
            </c:strRef>
          </c:cat>
          <c:val>
            <c:numRef>
              <c:f>Sheet1!$B$2:$B$29</c:f>
              <c:numCache>
                <c:formatCode>General</c:formatCode>
                <c:ptCount val="28"/>
                <c:pt idx="0">
                  <c:v>310.0</c:v>
                </c:pt>
                <c:pt idx="1">
                  <c:v>305.0</c:v>
                </c:pt>
                <c:pt idx="2">
                  <c:v>349.0</c:v>
                </c:pt>
                <c:pt idx="3">
                  <c:v>305.0</c:v>
                </c:pt>
                <c:pt idx="4">
                  <c:v>376.25</c:v>
                </c:pt>
                <c:pt idx="5">
                  <c:v>305.0</c:v>
                </c:pt>
                <c:pt idx="6">
                  <c:v>335.0</c:v>
                </c:pt>
                <c:pt idx="7">
                  <c:v>385.0</c:v>
                </c:pt>
                <c:pt idx="8">
                  <c:v>305.0</c:v>
                </c:pt>
                <c:pt idx="9">
                  <c:v>310.0</c:v>
                </c:pt>
                <c:pt idx="10">
                  <c:v>249.0</c:v>
                </c:pt>
                <c:pt idx="11">
                  <c:v>242.0</c:v>
                </c:pt>
                <c:pt idx="12">
                  <c:v>215.0</c:v>
                </c:pt>
                <c:pt idx="13">
                  <c:v>240.0</c:v>
                </c:pt>
                <c:pt idx="14">
                  <c:v>179.0</c:v>
                </c:pt>
                <c:pt idx="15">
                  <c:v>179.0</c:v>
                </c:pt>
                <c:pt idx="16">
                  <c:v>179.0</c:v>
                </c:pt>
                <c:pt idx="17">
                  <c:v>105.0</c:v>
                </c:pt>
                <c:pt idx="18">
                  <c:v>350.0</c:v>
                </c:pt>
                <c:pt idx="19">
                  <c:v>205.0</c:v>
                </c:pt>
                <c:pt idx="20">
                  <c:v>350.0</c:v>
                </c:pt>
                <c:pt idx="21">
                  <c:v>350.0</c:v>
                </c:pt>
                <c:pt idx="22">
                  <c:v>125.0</c:v>
                </c:pt>
                <c:pt idx="23">
                  <c:v>385.0</c:v>
                </c:pt>
                <c:pt idx="24">
                  <c:v>299.0</c:v>
                </c:pt>
                <c:pt idx="25">
                  <c:v>205.0</c:v>
                </c:pt>
                <c:pt idx="26">
                  <c:v>105.0</c:v>
                </c:pt>
                <c:pt idx="27">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2.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79.0</a:t>
                    </a:r>
                  </a:p>
                </c:rich>
              </c:tx>
              <c:showLegendKey val="0"/>
              <c:showVal val="1"/>
              <c:showCatName val="0"/>
              <c:showSerName val="0"/>
              <c:showPercent val="0"/>
              <c:showBubbleSize val="0"/>
            </c:dLbl>
            <c:dLbl>
              <c:idx val="13"/>
              <c:tx>
                <c:rich>
                  <a:bodyPr/>
                  <a:lstStyle/>
                  <a:p>
                    <a:r>
                      <a:t>179.0</a:t>
                    </a:r>
                  </a:p>
                </c:rich>
              </c:tx>
              <c:showLegendKey val="0"/>
              <c:showVal val="1"/>
              <c:showCatName val="0"/>
              <c:showSerName val="0"/>
              <c:showPercent val="0"/>
              <c:showBubbleSize val="0"/>
            </c:dLbl>
            <c:dLbl>
              <c:idx val="14"/>
              <c:tx>
                <c:rich>
                  <a:bodyPr/>
                  <a:lstStyle/>
                  <a:p>
                    <a:r>
                      <a:t>105.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205.0</a:t>
                    </a:r>
                  </a:p>
                </c:rich>
              </c:tx>
              <c:showLegendKey val="0"/>
              <c:showVal val="1"/>
              <c:showCatName val="0"/>
              <c:showSerName val="0"/>
              <c:showPercent val="0"/>
              <c:showBubbleSize val="0"/>
            </c:dLbl>
            <c:dLbl>
              <c:idx val="17"/>
              <c:tx>
                <c:rich>
                  <a:bodyPr/>
                  <a:lstStyle/>
                  <a:p>
                    <a:r>
                      <a:t>350.0</a:t>
                    </a:r>
                  </a:p>
                </c:rich>
              </c:tx>
              <c:showLegendKey val="0"/>
              <c:showVal val="1"/>
              <c:showCatName val="0"/>
              <c:showSerName val="0"/>
              <c:showPercent val="0"/>
              <c:showBubbleSize val="0"/>
            </c:dLbl>
            <c:dLbl>
              <c:idx val="18"/>
              <c:tx>
                <c:rich>
                  <a:bodyPr/>
                  <a:lstStyle/>
                  <a:p>
                    <a:r>
                      <a:t>125.0</a:t>
                    </a:r>
                  </a:p>
                </c:rich>
              </c:tx>
              <c:showLegendKey val="0"/>
              <c:showVal val="1"/>
              <c:showCatName val="0"/>
              <c:showSerName val="0"/>
              <c:showPercent val="0"/>
              <c:showBubbleSize val="0"/>
            </c:dLbl>
            <c:dLbl>
              <c:idx val="19"/>
              <c:tx>
                <c:rich>
                  <a:bodyPr/>
                  <a:lstStyle/>
                  <a:p>
                    <a:r>
                      <a:t>385.0</a:t>
                    </a:r>
                  </a:p>
                </c:rich>
              </c:tx>
              <c:showLegendKey val="0"/>
              <c:showVal val="1"/>
              <c:showCatName val="0"/>
              <c:showSerName val="0"/>
              <c:showPercent val="0"/>
              <c:showBubbleSize val="0"/>
            </c:dLbl>
            <c:dLbl>
              <c:idx val="20"/>
              <c:tx>
                <c:rich>
                  <a:bodyPr/>
                  <a:lstStyle/>
                  <a:p>
                    <a:r>
                      <a:t>299.0</a:t>
                    </a:r>
                  </a:p>
                </c:rich>
              </c:tx>
              <c:showLegendKey val="0"/>
              <c:showVal val="1"/>
              <c:showCatName val="0"/>
              <c:showSerName val="0"/>
              <c:showPercent val="0"/>
              <c:showBubbleSize val="0"/>
            </c:dLbl>
            <c:dLbl>
              <c:idx val="21"/>
              <c:tx>
                <c:rich>
                  <a:bodyPr/>
                  <a:lstStyle/>
                  <a:p>
                    <a:r>
                      <a:t>205.0</a:t>
                    </a:r>
                  </a:p>
                </c:rich>
              </c:tx>
              <c:showLegendKey val="0"/>
              <c:showVal val="1"/>
              <c:showCatName val="0"/>
              <c:showSerName val="0"/>
              <c:showPercent val="0"/>
              <c:showBubbleSize val="0"/>
            </c:dLbl>
            <c:dLbl>
              <c:idx val="22"/>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Kids Cosmetics Locion 50 180Ml</c:v>
                </c:pt>
                <c:pt idx="11">
                  <c:v>Edgewell Beauty Care Antioxidant Sunscreen Adults Cosmetics Liquido 50+ 50Ml</c:v>
                </c:pt>
                <c:pt idx="12">
                  <c:v>Edgewell Beauty Care Matte Sunscreen Adults Cosmetics Liquido 30 50Ml</c:v>
                </c:pt>
                <c:pt idx="13">
                  <c:v>Edgewell Beauty Care Sensitive Sunscreen Adults Cosmetics Liquido 50+ 50Ml</c:v>
                </c:pt>
                <c:pt idx="14">
                  <c:v>Edgewell Hawaiian Tropic Island Sport Sunscreen Adults Sport Liquido 50 60Ml</c:v>
                </c:pt>
                <c:pt idx="15">
                  <c:v>Edgewell Hawaiian Tropic Other Sunscreen Adults Cosmetics Crema 50+ 240Ml</c:v>
                </c:pt>
                <c:pt idx="16">
                  <c:v>Edgewell Hawaiian Tropic Ozono Sunscreen Adults Cosmetics Liquido 50+ 120Ml</c:v>
                </c:pt>
                <c:pt idx="17">
                  <c:v>Edgewell Hawaiian Tropic Ozono Sunscreen Adults Cosmetics Liquido 50+ 240Ml</c:v>
                </c:pt>
                <c:pt idx="18">
                  <c:v>Edgewell Hawaiian Tropic Ozono Sunscreen Adults Cosmetics Liquido 50+ 90Ml</c:v>
                </c:pt>
                <c:pt idx="19">
                  <c:v>Edgewell Hawaiian Tropic Ozono Sunscreen Adults Cosmetics Spray Liquido 50+ 180Ml</c:v>
                </c:pt>
                <c:pt idx="20">
                  <c:v>Edgewell Hawaiian Tropic Sheer Touch Sunscreen Adults Cosmetics Crema 30 - 49 240Ml</c:v>
                </c:pt>
                <c:pt idx="21">
                  <c:v>Edgewell Hawaiian Tropic Sheer Touch Sunscreen Adults Cosmetics Crema 50 120Ml</c:v>
                </c:pt>
                <c:pt idx="22">
                  <c:v>Edgewell Hawaiian Tropic Sheer Touch Sunscreen Adults Cosmetics Liquido 30 - 49 60Ml</c:v>
                </c:pt>
              </c:strCache>
            </c:strRef>
          </c:cat>
          <c:val>
            <c:numRef>
              <c:f>Sheet1!$B$2:$B$24</c:f>
              <c:numCache>
                <c:formatCode>General</c:formatCode>
                <c:ptCount val="23"/>
                <c:pt idx="0">
                  <c:v>310.0</c:v>
                </c:pt>
                <c:pt idx="1">
                  <c:v>305.0</c:v>
                </c:pt>
                <c:pt idx="2">
                  <c:v>349.0</c:v>
                </c:pt>
                <c:pt idx="3">
                  <c:v>305.0</c:v>
                </c:pt>
                <c:pt idx="4">
                  <c:v>367.5</c:v>
                </c:pt>
                <c:pt idx="5">
                  <c:v>305.0</c:v>
                </c:pt>
                <c:pt idx="6">
                  <c:v>335.0</c:v>
                </c:pt>
                <c:pt idx="7">
                  <c:v>385.0</c:v>
                </c:pt>
                <c:pt idx="8">
                  <c:v>305.0</c:v>
                </c:pt>
                <c:pt idx="9">
                  <c:v>310.0</c:v>
                </c:pt>
                <c:pt idx="10">
                  <c:v>242.0</c:v>
                </c:pt>
                <c:pt idx="11">
                  <c:v>179.0</c:v>
                </c:pt>
                <c:pt idx="12">
                  <c:v>179.0</c:v>
                </c:pt>
                <c:pt idx="13">
                  <c:v>179.0</c:v>
                </c:pt>
                <c:pt idx="14">
                  <c:v>105.0</c:v>
                </c:pt>
                <c:pt idx="15">
                  <c:v>350.0</c:v>
                </c:pt>
                <c:pt idx="16">
                  <c:v>205.0</c:v>
                </c:pt>
                <c:pt idx="17">
                  <c:v>350.0</c:v>
                </c:pt>
                <c:pt idx="18">
                  <c:v>125.0</c:v>
                </c:pt>
                <c:pt idx="19">
                  <c:v>385.0</c:v>
                </c:pt>
                <c:pt idx="20">
                  <c:v>299.0</c:v>
                </c:pt>
                <c:pt idx="21">
                  <c:v>205.0</c:v>
                </c:pt>
                <c:pt idx="22">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Tanning Tanning Adults Cosmetics Spray Aceite 0 - 5 237Ml</c:v>
                </c:pt>
                <c:pt idx="1">
                  <c:v>Edgewell Hawaiian Tropic Carrot Tanning Adults Cosmetics Crema 10 - 14 240Ml</c:v>
                </c:pt>
              </c:strCache>
            </c:strRef>
          </c:cat>
          <c:val>
            <c:numRef>
              <c:f>Sheet1!$B$2:$B$3</c:f>
              <c:numCache>
                <c:formatCode>General</c:formatCode>
                <c:ptCount val="2"/>
                <c:pt idx="0">
                  <c:v>279.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249.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15.0</a:t>
                    </a:r>
                  </a:p>
                </c:rich>
              </c:tx>
              <c:showLegendKey val="0"/>
              <c:showVal val="1"/>
              <c:showCatName val="0"/>
              <c:showSerName val="0"/>
              <c:showPercent val="0"/>
              <c:showBubbleSize val="0"/>
            </c:dLbl>
            <c:dLbl>
              <c:idx val="14"/>
              <c:tx>
                <c:rich>
                  <a:bodyPr/>
                  <a:lstStyle/>
                  <a:p>
                    <a:r>
                      <a:t>240.0</a:t>
                    </a:r>
                  </a:p>
                </c:rich>
              </c:tx>
              <c:showLegendKey val="0"/>
              <c:showVal val="1"/>
              <c:showCatName val="0"/>
              <c:showSerName val="0"/>
              <c:showPercent val="0"/>
              <c:showBubbleSize val="0"/>
            </c:dLbl>
            <c:dLbl>
              <c:idx val="15"/>
              <c:tx>
                <c:rich>
                  <a:bodyPr/>
                  <a:lstStyle/>
                  <a:p>
                    <a:r>
                      <a:t>179.0</a:t>
                    </a:r>
                  </a:p>
                </c:rich>
              </c:tx>
              <c:showLegendKey val="0"/>
              <c:showVal val="1"/>
              <c:showCatName val="0"/>
              <c:showSerName val="0"/>
              <c:showPercent val="0"/>
              <c:showBubbleSize val="0"/>
            </c:dLbl>
            <c:dLbl>
              <c:idx val="16"/>
              <c:tx>
                <c:rich>
                  <a:bodyPr/>
                  <a:lstStyle/>
                  <a:p>
                    <a:r>
                      <a:t>179.0</a:t>
                    </a:r>
                  </a:p>
                </c:rich>
              </c:tx>
              <c:showLegendKey val="0"/>
              <c:showVal val="1"/>
              <c:showCatName val="0"/>
              <c:showSerName val="0"/>
              <c:showPercent val="0"/>
              <c:showBubbleSize val="0"/>
            </c:dLbl>
            <c:dLbl>
              <c:idx val="17"/>
              <c:tx>
                <c:rich>
                  <a:bodyPr/>
                  <a:lstStyle/>
                  <a:p>
                    <a:r>
                      <a:t>179.0</a:t>
                    </a:r>
                  </a:p>
                </c:rich>
              </c:tx>
              <c:showLegendKey val="0"/>
              <c:showVal val="1"/>
              <c:showCatName val="0"/>
              <c:showSerName val="0"/>
              <c:showPercent val="0"/>
              <c:showBubbleSize val="0"/>
            </c:dLbl>
            <c:dLbl>
              <c:idx val="18"/>
              <c:tx>
                <c:rich>
                  <a:bodyPr/>
                  <a:lstStyle/>
                  <a:p>
                    <a:r>
                      <a:t>105.0</a:t>
                    </a:r>
                  </a:p>
                </c:rich>
              </c:tx>
              <c:showLegendKey val="0"/>
              <c:showVal val="1"/>
              <c:showCatName val="0"/>
              <c:showSerName val="0"/>
              <c:showPercent val="0"/>
              <c:showBubbleSize val="0"/>
            </c:dLbl>
            <c:dLbl>
              <c:idx val="19"/>
              <c:tx>
                <c:rich>
                  <a:bodyPr/>
                  <a:lstStyle/>
                  <a:p>
                    <a:r>
                      <a:t>350.0</a:t>
                    </a:r>
                  </a:p>
                </c:rich>
              </c:tx>
              <c:showLegendKey val="0"/>
              <c:showVal val="1"/>
              <c:showCatName val="0"/>
              <c:showSerName val="0"/>
              <c:showPercent val="0"/>
              <c:showBubbleSize val="0"/>
            </c:dLbl>
            <c:dLbl>
              <c:idx val="20"/>
              <c:tx>
                <c:rich>
                  <a:bodyPr/>
                  <a:lstStyle/>
                  <a:p>
                    <a:r>
                      <a:t>205.0</a:t>
                    </a:r>
                  </a:p>
                </c:rich>
              </c:tx>
              <c:showLegendKey val="0"/>
              <c:showVal val="1"/>
              <c:showCatName val="0"/>
              <c:showSerName val="0"/>
              <c:showPercent val="0"/>
              <c:showBubbleSize val="0"/>
            </c:dLbl>
            <c:dLbl>
              <c:idx val="21"/>
              <c:tx>
                <c:rich>
                  <a:bodyPr/>
                  <a:lstStyle/>
                  <a:p>
                    <a:r>
                      <a:t>350.0</a:t>
                    </a:r>
                  </a:p>
                </c:rich>
              </c:tx>
              <c:showLegendKey val="0"/>
              <c:showVal val="1"/>
              <c:showCatName val="0"/>
              <c:showSerName val="0"/>
              <c:showPercent val="0"/>
              <c:showBubbleSize val="0"/>
            </c:dLbl>
            <c:dLbl>
              <c:idx val="22"/>
              <c:tx>
                <c:rich>
                  <a:bodyPr/>
                  <a:lstStyle/>
                  <a:p>
                    <a:r>
                      <a:t>350.0</a:t>
                    </a:r>
                  </a:p>
                </c:rich>
              </c:tx>
              <c:showLegendKey val="0"/>
              <c:showVal val="1"/>
              <c:showCatName val="0"/>
              <c:showSerName val="0"/>
              <c:showPercent val="0"/>
              <c:showBubbleSize val="0"/>
            </c:dLbl>
            <c:dLbl>
              <c:idx val="23"/>
              <c:tx>
                <c:rich>
                  <a:bodyPr/>
                  <a:lstStyle/>
                  <a:p>
                    <a:r>
                      <a:t>125.0</a:t>
                    </a:r>
                  </a:p>
                </c:rich>
              </c:tx>
              <c:showLegendKey val="0"/>
              <c:showVal val="1"/>
              <c:showCatName val="0"/>
              <c:showSerName val="0"/>
              <c:showPercent val="0"/>
              <c:showBubbleSize val="0"/>
            </c:dLbl>
            <c:dLbl>
              <c:idx val="24"/>
              <c:tx>
                <c:rich>
                  <a:bodyPr/>
                  <a:lstStyle/>
                  <a:p>
                    <a:r>
                      <a:t>385.0</a:t>
                    </a:r>
                  </a:p>
                </c:rich>
              </c:tx>
              <c:showLegendKey val="0"/>
              <c:showVal val="1"/>
              <c:showCatName val="0"/>
              <c:showSerName val="0"/>
              <c:showPercent val="0"/>
              <c:showBubbleSize val="0"/>
            </c:dLbl>
            <c:dLbl>
              <c:idx val="25"/>
              <c:tx>
                <c:rich>
                  <a:bodyPr/>
                  <a:lstStyle/>
                  <a:p>
                    <a:r>
                      <a:t>299.0</a:t>
                    </a:r>
                  </a:p>
                </c:rich>
              </c:tx>
              <c:showLegendKey val="0"/>
              <c:showVal val="1"/>
              <c:showCatName val="0"/>
              <c:showSerName val="0"/>
              <c:showPercent val="0"/>
              <c:showBubbleSize val="0"/>
            </c:dLbl>
            <c:dLbl>
              <c:idx val="26"/>
              <c:tx>
                <c:rich>
                  <a:bodyPr/>
                  <a:lstStyle/>
                  <a:p>
                    <a:r>
                      <a:t>205.0</a:t>
                    </a:r>
                  </a:p>
                </c:rich>
              </c:tx>
              <c:showLegendKey val="0"/>
              <c:showVal val="1"/>
              <c:showCatName val="0"/>
              <c:showSerName val="0"/>
              <c:showPercent val="0"/>
              <c:showBubbleSize val="0"/>
            </c:dLbl>
            <c:dLbl>
              <c:idx val="27"/>
              <c:tx>
                <c:rich>
                  <a:bodyPr/>
                  <a:lstStyle/>
                  <a:p>
                    <a:r>
                      <a:t>105.0</a:t>
                    </a:r>
                  </a:p>
                </c:rich>
              </c:tx>
              <c:showLegendKey val="0"/>
              <c:showVal val="1"/>
              <c:showCatName val="0"/>
              <c:showSerName val="0"/>
              <c:showPercent val="0"/>
              <c:showBubbleSize val="0"/>
            </c:dLbl>
            <c:dLbl>
              <c:idx val="28"/>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Cosmetics Spray Crema 50+ 220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Ultra Sunscreen Adults Sport Roll-On 60+ 75Ml</c:v>
                </c:pt>
                <c:pt idx="14">
                  <c:v>Edgewell Beauty Care Antioxidant Sunscreen Adults Cosmetics Liquido 15 - 19 100Ml</c:v>
                </c:pt>
                <c:pt idx="15">
                  <c:v>Edgewell Beauty Care Antioxidant Sunscreen Adults Cosmetics Liquido 50+ 50Ml</c:v>
                </c:pt>
                <c:pt idx="16">
                  <c:v>Edgewell Beauty Care Matte Sunscreen Adults Cosmetics Liquido 30 50Ml</c:v>
                </c:pt>
                <c:pt idx="17">
                  <c:v>Edgewell Beauty Care Sensitive Sunscreen Adults Cosmetics Liquido 50+ 50Ml</c:v>
                </c:pt>
                <c:pt idx="18">
                  <c:v>Edgewell Hawaiian Tropic Island Sport Sunscreen Adults Sport Liquido 50 60Ml</c:v>
                </c:pt>
                <c:pt idx="19">
                  <c:v>Edgewell Hawaiian Tropic Other Sunscreen Adults Cosmetics Crema 50+ 240Ml</c:v>
                </c:pt>
                <c:pt idx="20">
                  <c:v>Edgewell Hawaiian Tropic Ozono Sunscreen Adults Cosmetics Liquido 50+ 120Ml</c:v>
                </c:pt>
                <c:pt idx="21">
                  <c:v>Edgewell Hawaiian Tropic Ozono Sunscreen Adults Cosmetics Liquido 50+ 180Ml</c:v>
                </c:pt>
                <c:pt idx="22">
                  <c:v>Edgewell Hawaiian Tropic Ozono Sunscreen Adults Cosmetics Liquido 50+ 240Ml</c:v>
                </c:pt>
                <c:pt idx="23">
                  <c:v>Edgewell Hawaiian Tropic Ozono Sunscreen Adults Cosmetics Liquido 50+ 90Ml</c:v>
                </c:pt>
                <c:pt idx="24">
                  <c:v>Edgewell Hawaiian Tropic Ozono Sunscreen Adults Cosmetics Spray Liquido 50+ 180Ml</c:v>
                </c:pt>
                <c:pt idx="25">
                  <c:v>Edgewell Hawaiian Tropic Sheer Touch Sunscreen Adults Cosmetics Crema 30 - 49 240Ml</c:v>
                </c:pt>
                <c:pt idx="26">
                  <c:v>Edgewell Hawaiian Tropic Sheer Touch Sunscreen Adults Cosmetics Crema 50 120Ml</c:v>
                </c:pt>
                <c:pt idx="27">
                  <c:v>Edgewell Hawaiian Tropic Sheer Touch Sunscreen Adults Cosmetics Liquido 30 - 49 60Ml</c:v>
                </c:pt>
                <c:pt idx="28">
                  <c:v>Edgewell Hawaiian Tropic Tanning Sunscreen Adults Cosmetics Spray Liquido 15 - 19 220Ml</c:v>
                </c:pt>
              </c:strCache>
            </c:strRef>
          </c:cat>
          <c:val>
            <c:numRef>
              <c:f>Sheet1!$B$2:$B$30</c:f>
              <c:numCache>
                <c:formatCode>General</c:formatCode>
                <c:ptCount val="29"/>
                <c:pt idx="0">
                  <c:v>310.0</c:v>
                </c:pt>
                <c:pt idx="1">
                  <c:v>305.0</c:v>
                </c:pt>
                <c:pt idx="2">
                  <c:v>349.0</c:v>
                </c:pt>
                <c:pt idx="3">
                  <c:v>305.0</c:v>
                </c:pt>
                <c:pt idx="4">
                  <c:v>367.5</c:v>
                </c:pt>
                <c:pt idx="5">
                  <c:v>305.0</c:v>
                </c:pt>
                <c:pt idx="6">
                  <c:v>249.0</c:v>
                </c:pt>
                <c:pt idx="7">
                  <c:v>335.0</c:v>
                </c:pt>
                <c:pt idx="8">
                  <c:v>385.0</c:v>
                </c:pt>
                <c:pt idx="9">
                  <c:v>305.0</c:v>
                </c:pt>
                <c:pt idx="10">
                  <c:v>310.0</c:v>
                </c:pt>
                <c:pt idx="11">
                  <c:v>249.0</c:v>
                </c:pt>
                <c:pt idx="12">
                  <c:v>242.0</c:v>
                </c:pt>
                <c:pt idx="13">
                  <c:v>215.0</c:v>
                </c:pt>
                <c:pt idx="14">
                  <c:v>240.0</c:v>
                </c:pt>
                <c:pt idx="15">
                  <c:v>179.0</c:v>
                </c:pt>
                <c:pt idx="16">
                  <c:v>179.0</c:v>
                </c:pt>
                <c:pt idx="17">
                  <c:v>179.0</c:v>
                </c:pt>
                <c:pt idx="18">
                  <c:v>105.0</c:v>
                </c:pt>
                <c:pt idx="19">
                  <c:v>350.0</c:v>
                </c:pt>
                <c:pt idx="20">
                  <c:v>205.0</c:v>
                </c:pt>
                <c:pt idx="21">
                  <c:v>350.0</c:v>
                </c:pt>
                <c:pt idx="22">
                  <c:v>350.0</c:v>
                </c:pt>
                <c:pt idx="23">
                  <c:v>125.0</c:v>
                </c:pt>
                <c:pt idx="24">
                  <c:v>385.0</c:v>
                </c:pt>
                <c:pt idx="25">
                  <c:v>299.0</c:v>
                </c:pt>
                <c:pt idx="26">
                  <c:v>205.0</c:v>
                </c:pt>
                <c:pt idx="27">
                  <c:v>105.0</c:v>
                </c:pt>
                <c:pt idx="28">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Tanning Tanning Adults Cosmetics Spray Aceite 0 - 5 237Ml</c:v>
                </c:pt>
                <c:pt idx="1">
                  <c:v>Edgewell Hawaiian Tropic Carrot Tanning Adults Cosmetics Crema 10 - 14 240Ml</c:v>
                </c:pt>
              </c:strCache>
            </c:strRef>
          </c:cat>
          <c:val>
            <c:numRef>
              <c:f>Sheet1!$B$2:$B$3</c:f>
              <c:numCache>
                <c:formatCode>General</c:formatCode>
                <c:ptCount val="2"/>
                <c:pt idx="0">
                  <c:v>279.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249.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15.0</a:t>
                    </a:r>
                  </a:p>
                </c:rich>
              </c:tx>
              <c:showLegendKey val="0"/>
              <c:showVal val="1"/>
              <c:showCatName val="0"/>
              <c:showSerName val="0"/>
              <c:showPercent val="0"/>
              <c:showBubbleSize val="0"/>
            </c:dLbl>
            <c:dLbl>
              <c:idx val="14"/>
              <c:tx>
                <c:rich>
                  <a:bodyPr/>
                  <a:lstStyle/>
                  <a:p>
                    <a:r>
                      <a:t>240.0</a:t>
                    </a:r>
                  </a:p>
                </c:rich>
              </c:tx>
              <c:showLegendKey val="0"/>
              <c:showVal val="1"/>
              <c:showCatName val="0"/>
              <c:showSerName val="0"/>
              <c:showPercent val="0"/>
              <c:showBubbleSize val="0"/>
            </c:dLbl>
            <c:dLbl>
              <c:idx val="15"/>
              <c:tx>
                <c:rich>
                  <a:bodyPr/>
                  <a:lstStyle/>
                  <a:p>
                    <a:r>
                      <a:t>179.0</a:t>
                    </a:r>
                  </a:p>
                </c:rich>
              </c:tx>
              <c:showLegendKey val="0"/>
              <c:showVal val="1"/>
              <c:showCatName val="0"/>
              <c:showSerName val="0"/>
              <c:showPercent val="0"/>
              <c:showBubbleSize val="0"/>
            </c:dLbl>
            <c:dLbl>
              <c:idx val="16"/>
              <c:tx>
                <c:rich>
                  <a:bodyPr/>
                  <a:lstStyle/>
                  <a:p>
                    <a:r>
                      <a:t>179.0</a:t>
                    </a:r>
                  </a:p>
                </c:rich>
              </c:tx>
              <c:showLegendKey val="0"/>
              <c:showVal val="1"/>
              <c:showCatName val="0"/>
              <c:showSerName val="0"/>
              <c:showPercent val="0"/>
              <c:showBubbleSize val="0"/>
            </c:dLbl>
            <c:dLbl>
              <c:idx val="17"/>
              <c:tx>
                <c:rich>
                  <a:bodyPr/>
                  <a:lstStyle/>
                  <a:p>
                    <a:r>
                      <a:t>179.0</a:t>
                    </a:r>
                  </a:p>
                </c:rich>
              </c:tx>
              <c:showLegendKey val="0"/>
              <c:showVal val="1"/>
              <c:showCatName val="0"/>
              <c:showSerName val="0"/>
              <c:showPercent val="0"/>
              <c:showBubbleSize val="0"/>
            </c:dLbl>
            <c:dLbl>
              <c:idx val="18"/>
              <c:tx>
                <c:rich>
                  <a:bodyPr/>
                  <a:lstStyle/>
                  <a:p>
                    <a:r>
                      <a:t>105.0</a:t>
                    </a:r>
                  </a:p>
                </c:rich>
              </c:tx>
              <c:showLegendKey val="0"/>
              <c:showVal val="1"/>
              <c:showCatName val="0"/>
              <c:showSerName val="0"/>
              <c:showPercent val="0"/>
              <c:showBubbleSize val="0"/>
            </c:dLbl>
            <c:dLbl>
              <c:idx val="19"/>
              <c:tx>
                <c:rich>
                  <a:bodyPr/>
                  <a:lstStyle/>
                  <a:p>
                    <a:r>
                      <a:t>350.0</a:t>
                    </a:r>
                  </a:p>
                </c:rich>
              </c:tx>
              <c:showLegendKey val="0"/>
              <c:showVal val="1"/>
              <c:showCatName val="0"/>
              <c:showSerName val="0"/>
              <c:showPercent val="0"/>
              <c:showBubbleSize val="0"/>
            </c:dLbl>
            <c:dLbl>
              <c:idx val="20"/>
              <c:tx>
                <c:rich>
                  <a:bodyPr/>
                  <a:lstStyle/>
                  <a:p>
                    <a:r>
                      <a:t>205.0</a:t>
                    </a:r>
                  </a:p>
                </c:rich>
              </c:tx>
              <c:showLegendKey val="0"/>
              <c:showVal val="1"/>
              <c:showCatName val="0"/>
              <c:showSerName val="0"/>
              <c:showPercent val="0"/>
              <c:showBubbleSize val="0"/>
            </c:dLbl>
            <c:dLbl>
              <c:idx val="21"/>
              <c:tx>
                <c:rich>
                  <a:bodyPr/>
                  <a:lstStyle/>
                  <a:p>
                    <a:r>
                      <a:t>350.0</a:t>
                    </a:r>
                  </a:p>
                </c:rich>
              </c:tx>
              <c:showLegendKey val="0"/>
              <c:showVal val="1"/>
              <c:showCatName val="0"/>
              <c:showSerName val="0"/>
              <c:showPercent val="0"/>
              <c:showBubbleSize val="0"/>
            </c:dLbl>
            <c:dLbl>
              <c:idx val="22"/>
              <c:tx>
                <c:rich>
                  <a:bodyPr/>
                  <a:lstStyle/>
                  <a:p>
                    <a:r>
                      <a:t>350.0</a:t>
                    </a:r>
                  </a:p>
                </c:rich>
              </c:tx>
              <c:showLegendKey val="0"/>
              <c:showVal val="1"/>
              <c:showCatName val="0"/>
              <c:showSerName val="0"/>
              <c:showPercent val="0"/>
              <c:showBubbleSize val="0"/>
            </c:dLbl>
            <c:dLbl>
              <c:idx val="23"/>
              <c:tx>
                <c:rich>
                  <a:bodyPr/>
                  <a:lstStyle/>
                  <a:p>
                    <a:r>
                      <a:t>125.0</a:t>
                    </a:r>
                  </a:p>
                </c:rich>
              </c:tx>
              <c:showLegendKey val="0"/>
              <c:showVal val="1"/>
              <c:showCatName val="0"/>
              <c:showSerName val="0"/>
              <c:showPercent val="0"/>
              <c:showBubbleSize val="0"/>
            </c:dLbl>
            <c:dLbl>
              <c:idx val="24"/>
              <c:tx>
                <c:rich>
                  <a:bodyPr/>
                  <a:lstStyle/>
                  <a:p>
                    <a:r>
                      <a:t>385.0</a:t>
                    </a:r>
                  </a:p>
                </c:rich>
              </c:tx>
              <c:showLegendKey val="0"/>
              <c:showVal val="1"/>
              <c:showCatName val="0"/>
              <c:showSerName val="0"/>
              <c:showPercent val="0"/>
              <c:showBubbleSize val="0"/>
            </c:dLbl>
            <c:dLbl>
              <c:idx val="25"/>
              <c:tx>
                <c:rich>
                  <a:bodyPr/>
                  <a:lstStyle/>
                  <a:p>
                    <a:r>
                      <a:t>299.0</a:t>
                    </a:r>
                  </a:p>
                </c:rich>
              </c:tx>
              <c:showLegendKey val="0"/>
              <c:showVal val="1"/>
              <c:showCatName val="0"/>
              <c:showSerName val="0"/>
              <c:showPercent val="0"/>
              <c:showBubbleSize val="0"/>
            </c:dLbl>
            <c:dLbl>
              <c:idx val="26"/>
              <c:tx>
                <c:rich>
                  <a:bodyPr/>
                  <a:lstStyle/>
                  <a:p>
                    <a:r>
                      <a:t>205.0</a:t>
                    </a:r>
                  </a:p>
                </c:rich>
              </c:tx>
              <c:showLegendKey val="0"/>
              <c:showVal val="1"/>
              <c:showCatName val="0"/>
              <c:showSerName val="0"/>
              <c:showPercent val="0"/>
              <c:showBubbleSize val="0"/>
            </c:dLbl>
            <c:dLbl>
              <c:idx val="27"/>
              <c:tx>
                <c:rich>
                  <a:bodyPr/>
                  <a:lstStyle/>
                  <a:p>
                    <a:r>
                      <a:t>105.0</a:t>
                    </a:r>
                  </a:p>
                </c:rich>
              </c:tx>
              <c:showLegendKey val="0"/>
              <c:showVal val="1"/>
              <c:showCatName val="0"/>
              <c:showSerName val="0"/>
              <c:showPercent val="0"/>
              <c:showBubbleSize val="0"/>
            </c:dLbl>
            <c:dLbl>
              <c:idx val="28"/>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Cosmetics Spray Crema 50+ 220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Ultra Sunscreen Adults Sport Roll-On 60+ 75Ml</c:v>
                </c:pt>
                <c:pt idx="14">
                  <c:v>Edgewell Beauty Care Antioxidant Sunscreen Adults Cosmetics Liquido 15 - 19 100Ml</c:v>
                </c:pt>
                <c:pt idx="15">
                  <c:v>Edgewell Beauty Care Antioxidant Sunscreen Adults Cosmetics Liquido 50+ 50Ml</c:v>
                </c:pt>
                <c:pt idx="16">
                  <c:v>Edgewell Beauty Care Matte Sunscreen Adults Cosmetics Liquido 30 50Ml</c:v>
                </c:pt>
                <c:pt idx="17">
                  <c:v>Edgewell Beauty Care Sensitive Sunscreen Adults Cosmetics Liquido 50+ 50Ml</c:v>
                </c:pt>
                <c:pt idx="18">
                  <c:v>Edgewell Hawaiian Tropic Island Sport Sunscreen Adults Sport Liquido 50 60Ml</c:v>
                </c:pt>
                <c:pt idx="19">
                  <c:v>Edgewell Hawaiian Tropic Other Sunscreen Adults Cosmetics Crema 50+ 240Ml</c:v>
                </c:pt>
                <c:pt idx="20">
                  <c:v>Edgewell Hawaiian Tropic Ozono Sunscreen Adults Cosmetics Liquido 50+ 120Ml</c:v>
                </c:pt>
                <c:pt idx="21">
                  <c:v>Edgewell Hawaiian Tropic Ozono Sunscreen Adults Cosmetics Liquido 50+ 180Ml</c:v>
                </c:pt>
                <c:pt idx="22">
                  <c:v>Edgewell Hawaiian Tropic Ozono Sunscreen Adults Cosmetics Liquido 50+ 240Ml</c:v>
                </c:pt>
                <c:pt idx="23">
                  <c:v>Edgewell Hawaiian Tropic Ozono Sunscreen Adults Cosmetics Liquido 50+ 90Ml</c:v>
                </c:pt>
                <c:pt idx="24">
                  <c:v>Edgewell Hawaiian Tropic Ozono Sunscreen Adults Cosmetics Spray Liquido 50+ 180Ml</c:v>
                </c:pt>
                <c:pt idx="25">
                  <c:v>Edgewell Hawaiian Tropic Sheer Touch Sunscreen Adults Cosmetics Crema 30 - 49 240Ml</c:v>
                </c:pt>
                <c:pt idx="26">
                  <c:v>Edgewell Hawaiian Tropic Sheer Touch Sunscreen Adults Cosmetics Crema 50 120Ml</c:v>
                </c:pt>
                <c:pt idx="27">
                  <c:v>Edgewell Hawaiian Tropic Sheer Touch Sunscreen Adults Cosmetics Liquido 30 - 49 60Ml</c:v>
                </c:pt>
                <c:pt idx="28">
                  <c:v>Edgewell Hawaiian Tropic Tanning Sunscreen Adults Cosmetics Spray Liquido 15 - 19 220Ml</c:v>
                </c:pt>
              </c:strCache>
            </c:strRef>
          </c:cat>
          <c:val>
            <c:numRef>
              <c:f>Sheet1!$B$2:$B$30</c:f>
              <c:numCache>
                <c:formatCode>General</c:formatCode>
                <c:ptCount val="29"/>
                <c:pt idx="0">
                  <c:v>310.0</c:v>
                </c:pt>
                <c:pt idx="1">
                  <c:v>305.0</c:v>
                </c:pt>
                <c:pt idx="2">
                  <c:v>349.0</c:v>
                </c:pt>
                <c:pt idx="3">
                  <c:v>305.0</c:v>
                </c:pt>
                <c:pt idx="4">
                  <c:v>367.5</c:v>
                </c:pt>
                <c:pt idx="5">
                  <c:v>305.0</c:v>
                </c:pt>
                <c:pt idx="6">
                  <c:v>249.0</c:v>
                </c:pt>
                <c:pt idx="7">
                  <c:v>335.0</c:v>
                </c:pt>
                <c:pt idx="8">
                  <c:v>385.0</c:v>
                </c:pt>
                <c:pt idx="9">
                  <c:v>305.0</c:v>
                </c:pt>
                <c:pt idx="10">
                  <c:v>310.0</c:v>
                </c:pt>
                <c:pt idx="11">
                  <c:v>249.0</c:v>
                </c:pt>
                <c:pt idx="12">
                  <c:v>242.0</c:v>
                </c:pt>
                <c:pt idx="13">
                  <c:v>215.0</c:v>
                </c:pt>
                <c:pt idx="14">
                  <c:v>240.0</c:v>
                </c:pt>
                <c:pt idx="15">
                  <c:v>179.0</c:v>
                </c:pt>
                <c:pt idx="16">
                  <c:v>179.0</c:v>
                </c:pt>
                <c:pt idx="17">
                  <c:v>179.0</c:v>
                </c:pt>
                <c:pt idx="18">
                  <c:v>105.0</c:v>
                </c:pt>
                <c:pt idx="19">
                  <c:v>350.0</c:v>
                </c:pt>
                <c:pt idx="20">
                  <c:v>205.0</c:v>
                </c:pt>
                <c:pt idx="21">
                  <c:v>350.0</c:v>
                </c:pt>
                <c:pt idx="22">
                  <c:v>350.0</c:v>
                </c:pt>
                <c:pt idx="23">
                  <c:v>125.0</c:v>
                </c:pt>
                <c:pt idx="24">
                  <c:v>385.0</c:v>
                </c:pt>
                <c:pt idx="25">
                  <c:v>299.0</c:v>
                </c:pt>
                <c:pt idx="26">
                  <c:v>205.0</c:v>
                </c:pt>
                <c:pt idx="27">
                  <c:v>105.0</c:v>
                </c:pt>
                <c:pt idx="28">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Tanning Tanning Adults Cosmetics Spray Aceite 0 - 5 237Ml</c:v>
                </c:pt>
                <c:pt idx="1">
                  <c:v>Edgewell Hawaiian Tropic Carrot Tanning Adults Cosmetics Crema 10 - 14 240Ml</c:v>
                </c:pt>
              </c:strCache>
            </c:strRef>
          </c:cat>
          <c:val>
            <c:numRef>
              <c:f>Sheet1!$B$2:$B$3</c:f>
              <c:numCache>
                <c:formatCode>General</c:formatCode>
                <c:ptCount val="2"/>
                <c:pt idx="0">
                  <c:v>279.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Tanning Tanning Adults Cosmetics Spray Aceite 0 - 5 237Ml</c:v>
                </c:pt>
                <c:pt idx="1">
                  <c:v>Edgewell Hawaiian Tropic Carrot Tanning Adults Cosmetics Crema 10 - 14 240Ml</c:v>
                </c:pt>
              </c:strCache>
            </c:strRef>
          </c:cat>
          <c:val>
            <c:numRef>
              <c:f>Sheet1!$B$2:$B$3</c:f>
              <c:numCache>
                <c:formatCode>General</c:formatCode>
                <c:ptCount val="2"/>
                <c:pt idx="0">
                  <c:v>279.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9.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dLbl>
              <c:idx val="12"/>
              <c:tx>
                <c:rich>
                  <a:bodyPr/>
                  <a:lstStyle/>
                  <a:p>
                    <a:r>
                      <a:t>215.0</a:t>
                    </a:r>
                  </a:p>
                </c:rich>
              </c:tx>
              <c:showLegendKey val="0"/>
              <c:showVal val="1"/>
              <c:showCatName val="0"/>
              <c:showSerName val="0"/>
              <c:showPercent val="0"/>
              <c:showBubbleSize val="0"/>
            </c:dLbl>
            <c:dLbl>
              <c:idx val="13"/>
              <c:tx>
                <c:rich>
                  <a:bodyPr/>
                  <a:lstStyle/>
                  <a:p>
                    <a:r>
                      <a:t>240.0</a:t>
                    </a:r>
                  </a:p>
                </c:rich>
              </c:tx>
              <c:showLegendKey val="0"/>
              <c:showVal val="1"/>
              <c:showCatName val="0"/>
              <c:showSerName val="0"/>
              <c:showPercent val="0"/>
              <c:showBubbleSize val="0"/>
            </c:dLbl>
            <c:dLbl>
              <c:idx val="14"/>
              <c:tx>
                <c:rich>
                  <a:bodyPr/>
                  <a:lstStyle/>
                  <a:p>
                    <a:r>
                      <a:t>179.0</a:t>
                    </a:r>
                  </a:p>
                </c:rich>
              </c:tx>
              <c:showLegendKey val="0"/>
              <c:showVal val="1"/>
              <c:showCatName val="0"/>
              <c:showSerName val="0"/>
              <c:showPercent val="0"/>
              <c:showBubbleSize val="0"/>
            </c:dLbl>
            <c:dLbl>
              <c:idx val="15"/>
              <c:tx>
                <c:rich>
                  <a:bodyPr/>
                  <a:lstStyle/>
                  <a:p>
                    <a:r>
                      <a:t>179.0</a:t>
                    </a:r>
                  </a:p>
                </c:rich>
              </c:tx>
              <c:showLegendKey val="0"/>
              <c:showVal val="1"/>
              <c:showCatName val="0"/>
              <c:showSerName val="0"/>
              <c:showPercent val="0"/>
              <c:showBubbleSize val="0"/>
            </c:dLbl>
            <c:dLbl>
              <c:idx val="16"/>
              <c:tx>
                <c:rich>
                  <a:bodyPr/>
                  <a:lstStyle/>
                  <a:p>
                    <a:r>
                      <a:t>179.0</a:t>
                    </a:r>
                  </a:p>
                </c:rich>
              </c:tx>
              <c:showLegendKey val="0"/>
              <c:showVal val="1"/>
              <c:showCatName val="0"/>
              <c:showSerName val="0"/>
              <c:showPercent val="0"/>
              <c:showBubbleSize val="0"/>
            </c:dLbl>
            <c:dLbl>
              <c:idx val="17"/>
              <c:tx>
                <c:rich>
                  <a:bodyPr/>
                  <a:lstStyle/>
                  <a:p>
                    <a:r>
                      <a:t>105.0</a:t>
                    </a:r>
                  </a:p>
                </c:rich>
              </c:tx>
              <c:showLegendKey val="0"/>
              <c:showVal val="1"/>
              <c:showCatName val="0"/>
              <c:showSerName val="0"/>
              <c:showPercent val="0"/>
              <c:showBubbleSize val="0"/>
            </c:dLbl>
            <c:dLbl>
              <c:idx val="18"/>
              <c:tx>
                <c:rich>
                  <a:bodyPr/>
                  <a:lstStyle/>
                  <a:p>
                    <a:r>
                      <a:t>350.0</a:t>
                    </a:r>
                  </a:p>
                </c:rich>
              </c:tx>
              <c:showLegendKey val="0"/>
              <c:showVal val="1"/>
              <c:showCatName val="0"/>
              <c:showSerName val="0"/>
              <c:showPercent val="0"/>
              <c:showBubbleSize val="0"/>
            </c:dLbl>
            <c:dLbl>
              <c:idx val="19"/>
              <c:tx>
                <c:rich>
                  <a:bodyPr/>
                  <a:lstStyle/>
                  <a:p>
                    <a:r>
                      <a:t>205.0</a:t>
                    </a:r>
                  </a:p>
                </c:rich>
              </c:tx>
              <c:showLegendKey val="0"/>
              <c:showVal val="1"/>
              <c:showCatName val="0"/>
              <c:showSerName val="0"/>
              <c:showPercent val="0"/>
              <c:showBubbleSize val="0"/>
            </c:dLbl>
            <c:dLbl>
              <c:idx val="20"/>
              <c:tx>
                <c:rich>
                  <a:bodyPr/>
                  <a:lstStyle/>
                  <a:p>
                    <a:r>
                      <a:t>350.0</a:t>
                    </a:r>
                  </a:p>
                </c:rich>
              </c:tx>
              <c:showLegendKey val="0"/>
              <c:showVal val="1"/>
              <c:showCatName val="0"/>
              <c:showSerName val="0"/>
              <c:showPercent val="0"/>
              <c:showBubbleSize val="0"/>
            </c:dLbl>
            <c:dLbl>
              <c:idx val="21"/>
              <c:tx>
                <c:rich>
                  <a:bodyPr/>
                  <a:lstStyle/>
                  <a:p>
                    <a:r>
                      <a:t>350.0</a:t>
                    </a:r>
                  </a:p>
                </c:rich>
              </c:tx>
              <c:showLegendKey val="0"/>
              <c:showVal val="1"/>
              <c:showCatName val="0"/>
              <c:showSerName val="0"/>
              <c:showPercent val="0"/>
              <c:showBubbleSize val="0"/>
            </c:dLbl>
            <c:dLbl>
              <c:idx val="22"/>
              <c:tx>
                <c:rich>
                  <a:bodyPr/>
                  <a:lstStyle/>
                  <a:p>
                    <a:r>
                      <a:t>125.0</a:t>
                    </a:r>
                  </a:p>
                </c:rich>
              </c:tx>
              <c:showLegendKey val="0"/>
              <c:showVal val="1"/>
              <c:showCatName val="0"/>
              <c:showSerName val="0"/>
              <c:showPercent val="0"/>
              <c:showBubbleSize val="0"/>
            </c:dLbl>
            <c:dLbl>
              <c:idx val="23"/>
              <c:tx>
                <c:rich>
                  <a:bodyPr/>
                  <a:lstStyle/>
                  <a:p>
                    <a:r>
                      <a:t>385.0</a:t>
                    </a:r>
                  </a:p>
                </c:rich>
              </c:tx>
              <c:showLegendKey val="0"/>
              <c:showVal val="1"/>
              <c:showCatName val="0"/>
              <c:showSerName val="0"/>
              <c:showPercent val="0"/>
              <c:showBubbleSize val="0"/>
            </c:dLbl>
            <c:dLbl>
              <c:idx val="24"/>
              <c:tx>
                <c:rich>
                  <a:bodyPr/>
                  <a:lstStyle/>
                  <a:p>
                    <a:r>
                      <a:t>299.0</a:t>
                    </a:r>
                  </a:p>
                </c:rich>
              </c:tx>
              <c:showLegendKey val="0"/>
              <c:showVal val="1"/>
              <c:showCatName val="0"/>
              <c:showSerName val="0"/>
              <c:showPercent val="0"/>
              <c:showBubbleSize val="0"/>
            </c:dLbl>
            <c:dLbl>
              <c:idx val="25"/>
              <c:tx>
                <c:rich>
                  <a:bodyPr/>
                  <a:lstStyle/>
                  <a:p>
                    <a:r>
                      <a:t>205.0</a:t>
                    </a:r>
                  </a:p>
                </c:rich>
              </c:tx>
              <c:showLegendKey val="0"/>
              <c:showVal val="1"/>
              <c:showCatName val="0"/>
              <c:showSerName val="0"/>
              <c:showPercent val="0"/>
              <c:showBubbleSize val="0"/>
            </c:dLbl>
            <c:dLbl>
              <c:idx val="26"/>
              <c:tx>
                <c:rich>
                  <a:bodyPr/>
                  <a:lstStyle/>
                  <a:p>
                    <a:r>
                      <a:t>105.0</a:t>
                    </a:r>
                  </a:p>
                </c:rich>
              </c:tx>
              <c:showLegendKey val="0"/>
              <c:showVal val="1"/>
              <c:showCatName val="0"/>
              <c:showSerName val="0"/>
              <c:showPercent val="0"/>
              <c:showBubbleSize val="0"/>
            </c:dLbl>
            <c:dLbl>
              <c:idx val="27"/>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9</c:f>
              <c:strCache>
                <c:ptCount val="28"/>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Adults Sport Locion 50 180Ml</c:v>
                </c:pt>
                <c:pt idx="11">
                  <c:v>Edgewell Banana Boat Mineral Sunscreen Kids Cosmetics Locion 50 180Ml</c:v>
                </c:pt>
                <c:pt idx="12">
                  <c:v>Edgewell Banana Boat Ultra Sunscreen Adults Sport Roll-On 60+ 75Ml</c:v>
                </c:pt>
                <c:pt idx="13">
                  <c:v>Edgewell Beauty Care Antioxidant Sunscreen Adults Cosmetics Liquido 15 - 19 100Ml</c:v>
                </c:pt>
                <c:pt idx="14">
                  <c:v>Edgewell Beauty Care Antioxidant Sunscreen Adults Cosmetics Liquido 50+ 50Ml</c:v>
                </c:pt>
                <c:pt idx="15">
                  <c:v>Edgewell Beauty Care Matte Sunscreen Adults Cosmetics Liquido 30 50Ml</c:v>
                </c:pt>
                <c:pt idx="16">
                  <c:v>Edgewell Beauty Care Sensitive Sunscreen Adults Cosmetics Liquido 50+ 50Ml</c:v>
                </c:pt>
                <c:pt idx="17">
                  <c:v>Edgewell Hawaiian Tropic Island Sport Sunscreen Adults Sport Liquido 50 60Ml</c:v>
                </c:pt>
                <c:pt idx="18">
                  <c:v>Edgewell Hawaiian Tropic Other Sunscreen Adults Cosmetics Crema 50+ 240Ml</c:v>
                </c:pt>
                <c:pt idx="19">
                  <c:v>Edgewell Hawaiian Tropic Ozono Sunscreen Adults Cosmetics Liquido 50+ 120Ml</c:v>
                </c:pt>
                <c:pt idx="20">
                  <c:v>Edgewell Hawaiian Tropic Ozono Sunscreen Adults Cosmetics Liquido 50+ 180Ml</c:v>
                </c:pt>
                <c:pt idx="21">
                  <c:v>Edgewell Hawaiian Tropic Ozono Sunscreen Adults Cosmetics Liquido 50+ 240Ml</c:v>
                </c:pt>
                <c:pt idx="22">
                  <c:v>Edgewell Hawaiian Tropic Ozono Sunscreen Adults Cosmetics Liquido 50+ 90Ml</c:v>
                </c:pt>
                <c:pt idx="23">
                  <c:v>Edgewell Hawaiian Tropic Ozono Sunscreen Adults Cosmetics Spray Liquido 50+ 180Ml</c:v>
                </c:pt>
                <c:pt idx="24">
                  <c:v>Edgewell Hawaiian Tropic Sheer Touch Sunscreen Adults Cosmetics Crema 30 - 49 240Ml</c:v>
                </c:pt>
                <c:pt idx="25">
                  <c:v>Edgewell Hawaiian Tropic Sheer Touch Sunscreen Adults Cosmetics Crema 50 120Ml</c:v>
                </c:pt>
                <c:pt idx="26">
                  <c:v>Edgewell Hawaiian Tropic Sheer Touch Sunscreen Adults Cosmetics Liquido 30 - 49 60Ml</c:v>
                </c:pt>
                <c:pt idx="27">
                  <c:v>Edgewell Hawaiian Tropic Tanning Sunscreen Adults Cosmetics Spray Liquido 15 - 19 220Ml</c:v>
                </c:pt>
              </c:strCache>
            </c:strRef>
          </c:cat>
          <c:val>
            <c:numRef>
              <c:f>Sheet1!$B$2:$B$29</c:f>
              <c:numCache>
                <c:formatCode>General</c:formatCode>
                <c:ptCount val="28"/>
                <c:pt idx="0">
                  <c:v>310.0</c:v>
                </c:pt>
                <c:pt idx="1">
                  <c:v>305.0</c:v>
                </c:pt>
                <c:pt idx="2">
                  <c:v>349.0</c:v>
                </c:pt>
                <c:pt idx="3">
                  <c:v>305.0</c:v>
                </c:pt>
                <c:pt idx="4">
                  <c:v>367.5</c:v>
                </c:pt>
                <c:pt idx="5">
                  <c:v>305.0</c:v>
                </c:pt>
                <c:pt idx="6">
                  <c:v>335.0</c:v>
                </c:pt>
                <c:pt idx="7">
                  <c:v>385.0</c:v>
                </c:pt>
                <c:pt idx="8">
                  <c:v>305.0</c:v>
                </c:pt>
                <c:pt idx="9">
                  <c:v>310.0</c:v>
                </c:pt>
                <c:pt idx="10">
                  <c:v>249.0</c:v>
                </c:pt>
                <c:pt idx="11">
                  <c:v>242.0</c:v>
                </c:pt>
                <c:pt idx="12">
                  <c:v>215.0</c:v>
                </c:pt>
                <c:pt idx="13">
                  <c:v>240.0</c:v>
                </c:pt>
                <c:pt idx="14">
                  <c:v>179.0</c:v>
                </c:pt>
                <c:pt idx="15">
                  <c:v>179.0</c:v>
                </c:pt>
                <c:pt idx="16">
                  <c:v>179.0</c:v>
                </c:pt>
                <c:pt idx="17">
                  <c:v>105.0</c:v>
                </c:pt>
                <c:pt idx="18">
                  <c:v>350.0</c:v>
                </c:pt>
                <c:pt idx="19">
                  <c:v>205.0</c:v>
                </c:pt>
                <c:pt idx="20">
                  <c:v>350.0</c:v>
                </c:pt>
                <c:pt idx="21">
                  <c:v>350.0</c:v>
                </c:pt>
                <c:pt idx="22">
                  <c:v>125.0</c:v>
                </c:pt>
                <c:pt idx="23">
                  <c:v>385.0</c:v>
                </c:pt>
                <c:pt idx="24">
                  <c:v>299.0</c:v>
                </c:pt>
                <c:pt idx="25">
                  <c:v>205.0</c:v>
                </c:pt>
                <c:pt idx="26">
                  <c:v>105.0</c:v>
                </c:pt>
                <c:pt idx="27">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8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305.0</a:t>
                    </a:r>
                  </a:p>
                </c:rich>
              </c:tx>
              <c:showLegendKey val="0"/>
              <c:showVal val="1"/>
              <c:showCatName val="0"/>
              <c:showSerName val="0"/>
              <c:showPercent val="0"/>
              <c:showBubbleSize val="0"/>
            </c:dLbl>
            <c:dLbl>
              <c:idx val="8"/>
              <c:tx>
                <c:rich>
                  <a:bodyPr/>
                  <a:lstStyle/>
                  <a:p>
                    <a:r>
                      <a:t>310.0</a:t>
                    </a:r>
                  </a:p>
                </c:rich>
              </c:tx>
              <c:showLegendKey val="0"/>
              <c:showVal val="1"/>
              <c:showCatName val="0"/>
              <c:showSerName val="0"/>
              <c:showPercent val="0"/>
              <c:showBubbleSize val="0"/>
            </c:dLbl>
            <c:dLbl>
              <c:idx val="9"/>
              <c:tx>
                <c:rich>
                  <a:bodyPr/>
                  <a:lstStyle/>
                  <a:p>
                    <a:r>
                      <a:t>249.0</a:t>
                    </a:r>
                  </a:p>
                </c:rich>
              </c:tx>
              <c:showLegendKey val="0"/>
              <c:showVal val="1"/>
              <c:showCatName val="0"/>
              <c:showSerName val="0"/>
              <c:showPercent val="0"/>
              <c:showBubbleSize val="0"/>
            </c:dLbl>
            <c:dLbl>
              <c:idx val="10"/>
              <c:tx>
                <c:rich>
                  <a:bodyPr/>
                  <a:lstStyle/>
                  <a:p>
                    <a:r>
                      <a:t>242.0</a:t>
                    </a:r>
                  </a:p>
                </c:rich>
              </c:tx>
              <c:showLegendKey val="0"/>
              <c:showVal val="1"/>
              <c:showCatName val="0"/>
              <c:showSerName val="0"/>
              <c:showPercent val="0"/>
              <c:showBubbleSize val="0"/>
            </c:dLbl>
            <c:dLbl>
              <c:idx val="11"/>
              <c:tx>
                <c:rich>
                  <a:bodyPr/>
                  <a:lstStyle/>
                  <a:p>
                    <a:r>
                      <a:t>240.0</a:t>
                    </a:r>
                  </a:p>
                </c:rich>
              </c:tx>
              <c:showLegendKey val="0"/>
              <c:showVal val="1"/>
              <c:showCatName val="0"/>
              <c:showSerName val="0"/>
              <c:showPercent val="0"/>
              <c:showBubbleSize val="0"/>
            </c:dLbl>
            <c:dLbl>
              <c:idx val="12"/>
              <c:tx>
                <c:rich>
                  <a:bodyPr/>
                  <a:lstStyle/>
                  <a:p>
                    <a:r>
                      <a:t>179.0</a:t>
                    </a:r>
                  </a:p>
                </c:rich>
              </c:tx>
              <c:showLegendKey val="0"/>
              <c:showVal val="1"/>
              <c:showCatName val="0"/>
              <c:showSerName val="0"/>
              <c:showPercent val="0"/>
              <c:showBubbleSize val="0"/>
            </c:dLbl>
            <c:dLbl>
              <c:idx val="13"/>
              <c:tx>
                <c:rich>
                  <a:bodyPr/>
                  <a:lstStyle/>
                  <a:p>
                    <a:r>
                      <a:t>179.0</a:t>
                    </a:r>
                  </a:p>
                </c:rich>
              </c:tx>
              <c:showLegendKey val="0"/>
              <c:showVal val="1"/>
              <c:showCatName val="0"/>
              <c:showSerName val="0"/>
              <c:showPercent val="0"/>
              <c:showBubbleSize val="0"/>
            </c:dLbl>
            <c:dLbl>
              <c:idx val="14"/>
              <c:tx>
                <c:rich>
                  <a:bodyPr/>
                  <a:lstStyle/>
                  <a:p>
                    <a:r>
                      <a:t>179.0</a:t>
                    </a:r>
                  </a:p>
                </c:rich>
              </c:tx>
              <c:showLegendKey val="0"/>
              <c:showVal val="1"/>
              <c:showCatName val="0"/>
              <c:showSerName val="0"/>
              <c:showPercent val="0"/>
              <c:showBubbleSize val="0"/>
            </c:dLbl>
            <c:dLbl>
              <c:idx val="15"/>
              <c:tx>
                <c:rich>
                  <a:bodyPr/>
                  <a:lstStyle/>
                  <a:p>
                    <a:r>
                      <a:t>105.0</a:t>
                    </a:r>
                  </a:p>
                </c:rich>
              </c:tx>
              <c:showLegendKey val="0"/>
              <c:showVal val="1"/>
              <c:showCatName val="0"/>
              <c:showSerName val="0"/>
              <c:showPercent val="0"/>
              <c:showBubbleSize val="0"/>
            </c:dLbl>
            <c:dLbl>
              <c:idx val="16"/>
              <c:tx>
                <c:rich>
                  <a:bodyPr/>
                  <a:lstStyle/>
                  <a:p>
                    <a:r>
                      <a:t>350.0</a:t>
                    </a:r>
                  </a:p>
                </c:rich>
              </c:tx>
              <c:showLegendKey val="0"/>
              <c:showVal val="1"/>
              <c:showCatName val="0"/>
              <c:showSerName val="0"/>
              <c:showPercent val="0"/>
              <c:showBubbleSize val="0"/>
            </c:dLbl>
            <c:dLbl>
              <c:idx val="17"/>
              <c:tx>
                <c:rich>
                  <a:bodyPr/>
                  <a:lstStyle/>
                  <a:p>
                    <a:r>
                      <a:t>350.0</a:t>
                    </a:r>
                  </a:p>
                </c:rich>
              </c:tx>
              <c:showLegendKey val="0"/>
              <c:showVal val="1"/>
              <c:showCatName val="0"/>
              <c:showSerName val="0"/>
              <c:showPercent val="0"/>
              <c:showBubbleSize val="0"/>
            </c:dLbl>
            <c:dLbl>
              <c:idx val="18"/>
              <c:tx>
                <c:rich>
                  <a:bodyPr/>
                  <a:lstStyle/>
                  <a:p>
                    <a:r>
                      <a:t>350.0</a:t>
                    </a:r>
                  </a:p>
                </c:rich>
              </c:tx>
              <c:showLegendKey val="0"/>
              <c:showVal val="1"/>
              <c:showCatName val="0"/>
              <c:showSerName val="0"/>
              <c:showPercent val="0"/>
              <c:showBubbleSize val="0"/>
            </c:dLbl>
            <c:dLbl>
              <c:idx val="19"/>
              <c:tx>
                <c:rich>
                  <a:bodyPr/>
                  <a:lstStyle/>
                  <a:p>
                    <a:r>
                      <a:t>385.0</a:t>
                    </a:r>
                  </a:p>
                </c:rich>
              </c:tx>
              <c:showLegendKey val="0"/>
              <c:showVal val="1"/>
              <c:showCatName val="0"/>
              <c:showSerName val="0"/>
              <c:showPercent val="0"/>
              <c:showBubbleSize val="0"/>
            </c:dLbl>
            <c:dLbl>
              <c:idx val="20"/>
              <c:tx>
                <c:rich>
                  <a:bodyPr/>
                  <a:lstStyle/>
                  <a:p>
                    <a:r>
                      <a:t>205.0</a:t>
                    </a:r>
                  </a:p>
                </c:rich>
              </c:tx>
              <c:showLegendKey val="0"/>
              <c:showVal val="1"/>
              <c:showCatName val="0"/>
              <c:showSerName val="0"/>
              <c:showPercent val="0"/>
              <c:showBubbleSize val="0"/>
            </c:dLbl>
            <c:dLbl>
              <c:idx val="21"/>
              <c:tx>
                <c:rich>
                  <a:bodyPr/>
                  <a:lstStyle/>
                  <a:p>
                    <a:r>
                      <a:t>105.0</a:t>
                    </a:r>
                  </a:p>
                </c:rich>
              </c:tx>
              <c:showLegendKey val="0"/>
              <c:showVal val="1"/>
              <c:showCatName val="0"/>
              <c:showSerName val="0"/>
              <c:showPercent val="0"/>
              <c:showBubbleSize val="0"/>
            </c:dLbl>
            <c:dLbl>
              <c:idx val="2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Spray Liquido 50 220Ml</c:v>
                </c:pt>
                <c:pt idx="7">
                  <c:v>Edgewell Banana Boat Kids Sport Sunscreen Kids Cosmetics Crema 50 180Ml</c:v>
                </c:pt>
                <c:pt idx="8">
                  <c:v>Edgewell Banana Boat Mineral Sunscreen Adults Cosmetics Locion 50 60Ml</c:v>
                </c:pt>
                <c:pt idx="9">
                  <c:v>Edgewell Banana Boat Mineral Sunscreen Adults Sport Locion 50 180Ml</c:v>
                </c:pt>
                <c:pt idx="10">
                  <c:v>Edgewell Banana Boat Mineral Sunscreen Kids Cosmetics Locion 50 180Ml</c:v>
                </c:pt>
                <c:pt idx="11">
                  <c:v>Edgewell Beauty Care Antioxidant Sunscreen Adults Cosmetics Liquido 15 - 19 100Ml</c:v>
                </c:pt>
                <c:pt idx="12">
                  <c:v>Edgewell Beauty Care Antioxidant Sunscreen Adults Cosmetics Liquido 50+ 50Ml</c:v>
                </c:pt>
                <c:pt idx="13">
                  <c:v>Edgewell Beauty Care Matte Sunscreen Adults Cosmetics Liquido 30 50Ml</c:v>
                </c:pt>
                <c:pt idx="14">
                  <c:v>Edgewell Beauty Care Sensitive Sunscreen Adults Cosmetics Liquido 50+ 50Ml</c:v>
                </c:pt>
                <c:pt idx="15">
                  <c:v>Edgewell Hawaiian Tropic Island Sport Sunscreen Adults Sport Liquido 50 60Ml</c:v>
                </c:pt>
                <c:pt idx="16">
                  <c:v>Edgewell Hawaiian Tropic Other Sunscreen Adults Cosmetics Crema 50+ 240Ml</c:v>
                </c:pt>
                <c:pt idx="17">
                  <c:v>Edgewell Hawaiian Tropic Ozono Sunscreen Adults Cosmetics Liquido 50+ 180Ml</c:v>
                </c:pt>
                <c:pt idx="18">
                  <c:v>Edgewell Hawaiian Tropic Ozono Sunscreen Adults Cosmetics Liquido 50+ 240Ml</c:v>
                </c:pt>
                <c:pt idx="19">
                  <c:v>Edgewell Hawaiian Tropic Ozono Sunscreen Adults Cosmetics Spray Liquido 50+ 180Ml</c:v>
                </c:pt>
                <c:pt idx="20">
                  <c:v>Edgewell Hawaiian Tropic Sheer Touch Sunscreen Adults Cosmetics Crema 50 120Ml</c:v>
                </c:pt>
                <c:pt idx="21">
                  <c:v>Edgewell Hawaiian Tropic Sheer Touch Sunscreen Adults Cosmetics Liquido 30 - 49 60Ml</c:v>
                </c:pt>
                <c:pt idx="22">
                  <c:v>Edgewell Hawaiian Tropic Tanning Sunscreen Adults Cosmetics Spray Liquido 15 - 19 220Ml</c:v>
                </c:pt>
              </c:strCache>
            </c:strRef>
          </c:cat>
          <c:val>
            <c:numRef>
              <c:f>Sheet1!$B$2:$B$24</c:f>
              <c:numCache>
                <c:formatCode>General</c:formatCode>
                <c:ptCount val="23"/>
                <c:pt idx="0">
                  <c:v>310.0</c:v>
                </c:pt>
                <c:pt idx="1">
                  <c:v>305.0</c:v>
                </c:pt>
                <c:pt idx="2">
                  <c:v>349.0</c:v>
                </c:pt>
                <c:pt idx="3">
                  <c:v>305.0</c:v>
                </c:pt>
                <c:pt idx="4">
                  <c:v>385.0</c:v>
                </c:pt>
                <c:pt idx="5">
                  <c:v>305.0</c:v>
                </c:pt>
                <c:pt idx="6">
                  <c:v>385.0</c:v>
                </c:pt>
                <c:pt idx="7">
                  <c:v>305.0</c:v>
                </c:pt>
                <c:pt idx="8">
                  <c:v>310.0</c:v>
                </c:pt>
                <c:pt idx="9">
                  <c:v>249.0</c:v>
                </c:pt>
                <c:pt idx="10">
                  <c:v>242.0</c:v>
                </c:pt>
                <c:pt idx="11">
                  <c:v>240.0</c:v>
                </c:pt>
                <c:pt idx="12">
                  <c:v>179.0</c:v>
                </c:pt>
                <c:pt idx="13">
                  <c:v>179.0</c:v>
                </c:pt>
                <c:pt idx="14">
                  <c:v>179.0</c:v>
                </c:pt>
                <c:pt idx="15">
                  <c:v>105.0</c:v>
                </c:pt>
                <c:pt idx="16">
                  <c:v>350.0</c:v>
                </c:pt>
                <c:pt idx="17">
                  <c:v>350.0</c:v>
                </c:pt>
                <c:pt idx="18">
                  <c:v>350.0</c:v>
                </c:pt>
                <c:pt idx="19">
                  <c:v>385.0</c:v>
                </c:pt>
                <c:pt idx="20">
                  <c:v>205.0</c:v>
                </c:pt>
                <c:pt idx="21">
                  <c:v>105.0</c:v>
                </c:pt>
                <c:pt idx="2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Carrot Tanning Adults Cosmetics Crema 10 - 14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8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9.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dLbl>
              <c:idx val="12"/>
              <c:tx>
                <c:rich>
                  <a:bodyPr/>
                  <a:lstStyle/>
                  <a:p>
                    <a:r>
                      <a:t>240.0</a:t>
                    </a:r>
                  </a:p>
                </c:rich>
              </c:tx>
              <c:showLegendKey val="0"/>
              <c:showVal val="1"/>
              <c:showCatName val="0"/>
              <c:showSerName val="0"/>
              <c:showPercent val="0"/>
              <c:showBubbleSize val="0"/>
            </c:dLbl>
            <c:dLbl>
              <c:idx val="13"/>
              <c:tx>
                <c:rich>
                  <a:bodyPr/>
                  <a:lstStyle/>
                  <a:p>
                    <a:r>
                      <a:t>179.0</a:t>
                    </a:r>
                  </a:p>
                </c:rich>
              </c:tx>
              <c:showLegendKey val="0"/>
              <c:showVal val="1"/>
              <c:showCatName val="0"/>
              <c:showSerName val="0"/>
              <c:showPercent val="0"/>
              <c:showBubbleSize val="0"/>
            </c:dLbl>
            <c:dLbl>
              <c:idx val="14"/>
              <c:tx>
                <c:rich>
                  <a:bodyPr/>
                  <a:lstStyle/>
                  <a:p>
                    <a:r>
                      <a:t>179.0</a:t>
                    </a:r>
                  </a:p>
                </c:rich>
              </c:tx>
              <c:showLegendKey val="0"/>
              <c:showVal val="1"/>
              <c:showCatName val="0"/>
              <c:showSerName val="0"/>
              <c:showPercent val="0"/>
              <c:showBubbleSize val="0"/>
            </c:dLbl>
            <c:dLbl>
              <c:idx val="15"/>
              <c:tx>
                <c:rich>
                  <a:bodyPr/>
                  <a:lstStyle/>
                  <a:p>
                    <a:r>
                      <a:t>179.0</a:t>
                    </a:r>
                  </a:p>
                </c:rich>
              </c:tx>
              <c:showLegendKey val="0"/>
              <c:showVal val="1"/>
              <c:showCatName val="0"/>
              <c:showSerName val="0"/>
              <c:showPercent val="0"/>
              <c:showBubbleSize val="0"/>
            </c:dLbl>
            <c:dLbl>
              <c:idx val="16"/>
              <c:tx>
                <c:rich>
                  <a:bodyPr/>
                  <a:lstStyle/>
                  <a:p>
                    <a:r>
                      <a:t>105.0</a:t>
                    </a:r>
                  </a:p>
                </c:rich>
              </c:tx>
              <c:showLegendKey val="0"/>
              <c:showVal val="1"/>
              <c:showCatName val="0"/>
              <c:showSerName val="0"/>
              <c:showPercent val="0"/>
              <c:showBubbleSize val="0"/>
            </c:dLbl>
            <c:dLbl>
              <c:idx val="17"/>
              <c:tx>
                <c:rich>
                  <a:bodyPr/>
                  <a:lstStyle/>
                  <a:p>
                    <a:r>
                      <a:t>350.0</a:t>
                    </a:r>
                  </a:p>
                </c:rich>
              </c:tx>
              <c:showLegendKey val="0"/>
              <c:showVal val="1"/>
              <c:showCatName val="0"/>
              <c:showSerName val="0"/>
              <c:showPercent val="0"/>
              <c:showBubbleSize val="0"/>
            </c:dLbl>
            <c:dLbl>
              <c:idx val="18"/>
              <c:tx>
                <c:rich>
                  <a:bodyPr/>
                  <a:lstStyle/>
                  <a:p>
                    <a:r>
                      <a:t>205.0</a:t>
                    </a:r>
                  </a:p>
                </c:rich>
              </c:tx>
              <c:showLegendKey val="0"/>
              <c:showVal val="1"/>
              <c:showCatName val="0"/>
              <c:showSerName val="0"/>
              <c:showPercent val="0"/>
              <c:showBubbleSize val="0"/>
            </c:dLbl>
            <c:dLbl>
              <c:idx val="19"/>
              <c:tx>
                <c:rich>
                  <a:bodyPr/>
                  <a:lstStyle/>
                  <a:p>
                    <a:r>
                      <a:t>350.0</a:t>
                    </a:r>
                  </a:p>
                </c:rich>
              </c:tx>
              <c:showLegendKey val="0"/>
              <c:showVal val="1"/>
              <c:showCatName val="0"/>
              <c:showSerName val="0"/>
              <c:showPercent val="0"/>
              <c:showBubbleSize val="0"/>
            </c:dLbl>
            <c:dLbl>
              <c:idx val="20"/>
              <c:tx>
                <c:rich>
                  <a:bodyPr/>
                  <a:lstStyle/>
                  <a:p>
                    <a:r>
                      <a:t>350.0</a:t>
                    </a:r>
                  </a:p>
                </c:rich>
              </c:tx>
              <c:showLegendKey val="0"/>
              <c:showVal val="1"/>
              <c:showCatName val="0"/>
              <c:showSerName val="0"/>
              <c:showPercent val="0"/>
              <c:showBubbleSize val="0"/>
            </c:dLbl>
            <c:dLbl>
              <c:idx val="21"/>
              <c:tx>
                <c:rich>
                  <a:bodyPr/>
                  <a:lstStyle/>
                  <a:p>
                    <a:r>
                      <a:t>125.0</a:t>
                    </a:r>
                  </a:p>
                </c:rich>
              </c:tx>
              <c:showLegendKey val="0"/>
              <c:showVal val="1"/>
              <c:showCatName val="0"/>
              <c:showSerName val="0"/>
              <c:showPercent val="0"/>
              <c:showBubbleSize val="0"/>
            </c:dLbl>
            <c:dLbl>
              <c:idx val="22"/>
              <c:tx>
                <c:rich>
                  <a:bodyPr/>
                  <a:lstStyle/>
                  <a:p>
                    <a:r>
                      <a:t>385.0</a:t>
                    </a:r>
                  </a:p>
                </c:rich>
              </c:tx>
              <c:showLegendKey val="0"/>
              <c:showVal val="1"/>
              <c:showCatName val="0"/>
              <c:showSerName val="0"/>
              <c:showPercent val="0"/>
              <c:showBubbleSize val="0"/>
            </c:dLbl>
            <c:dLbl>
              <c:idx val="23"/>
              <c:tx>
                <c:rich>
                  <a:bodyPr/>
                  <a:lstStyle/>
                  <a:p>
                    <a:r>
                      <a:t>299.0</a:t>
                    </a:r>
                  </a:p>
                </c:rich>
              </c:tx>
              <c:showLegendKey val="0"/>
              <c:showVal val="1"/>
              <c:showCatName val="0"/>
              <c:showSerName val="0"/>
              <c:showPercent val="0"/>
              <c:showBubbleSize val="0"/>
            </c:dLbl>
            <c:dLbl>
              <c:idx val="24"/>
              <c:tx>
                <c:rich>
                  <a:bodyPr/>
                  <a:lstStyle/>
                  <a:p>
                    <a:r>
                      <a:t>205.0</a:t>
                    </a:r>
                  </a:p>
                </c:rich>
              </c:tx>
              <c:showLegendKey val="0"/>
              <c:showVal val="1"/>
              <c:showCatName val="0"/>
              <c:showSerName val="0"/>
              <c:showPercent val="0"/>
              <c:showBubbleSize val="0"/>
            </c:dLbl>
            <c:dLbl>
              <c:idx val="25"/>
              <c:tx>
                <c:rich>
                  <a:bodyPr/>
                  <a:lstStyle/>
                  <a:p>
                    <a:r>
                      <a:t>105.0</a:t>
                    </a:r>
                  </a:p>
                </c:rich>
              </c:tx>
              <c:showLegendKey val="0"/>
              <c:showVal val="1"/>
              <c:showCatName val="0"/>
              <c:showSerName val="0"/>
              <c:showPercent val="0"/>
              <c:showBubbleSize val="0"/>
            </c:dLbl>
            <c:dLbl>
              <c:idx val="26"/>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Adults Sport Locion 50 180Ml</c:v>
                </c:pt>
                <c:pt idx="11">
                  <c:v>Edgewell Banana Boat Mineral Sunscreen Kids Cosmetics Locion 50 180Ml</c:v>
                </c:pt>
                <c:pt idx="12">
                  <c:v>Edgewell Beauty Care Antioxidant Sunscreen Adults Cosmetics Liquido 15 - 19 100Ml</c:v>
                </c:pt>
                <c:pt idx="13">
                  <c:v>Edgewell Beauty Care Antioxidant Sunscreen Adults Cosmetics Liquido 50+ 50Ml</c:v>
                </c:pt>
                <c:pt idx="14">
                  <c:v>Edgewell Beauty Care Matte Sunscreen Adults Cosmetics Liquido 30 50Ml</c:v>
                </c:pt>
                <c:pt idx="15">
                  <c:v>Edgewell Beauty Care Sensitive Sunscreen Adults Cosmetics Liquido 50+ 50Ml</c:v>
                </c:pt>
                <c:pt idx="16">
                  <c:v>Edgewell Hawaiian Tropic Island Sport Sunscreen Adults Sport Liquido 50 60Ml</c:v>
                </c:pt>
                <c:pt idx="17">
                  <c:v>Edgewell Hawaiian Tropic Other Sunscreen Adults Cosmetics Crema 50+ 240Ml</c:v>
                </c:pt>
                <c:pt idx="18">
                  <c:v>Edgewell Hawaiian Tropic Ozono Sunscreen Adults Cosmetics Liquido 50+ 120Ml</c:v>
                </c:pt>
                <c:pt idx="19">
                  <c:v>Edgewell Hawaiian Tropic Ozono Sunscreen Adults Cosmetics Liquido 50+ 180Ml</c:v>
                </c:pt>
                <c:pt idx="20">
                  <c:v>Edgewell Hawaiian Tropic Ozono Sunscreen Adults Cosmetics Liquido 50+ 240Ml</c:v>
                </c:pt>
                <c:pt idx="21">
                  <c:v>Edgewell Hawaiian Tropic Ozono Sunscreen Adults Cosmetics Liquido 50+ 90Ml</c:v>
                </c:pt>
                <c:pt idx="22">
                  <c:v>Edgewell Hawaiian Tropic Ozono Sunscreen Adults Cosmetics Spray Liquido 50+ 180Ml</c:v>
                </c:pt>
                <c:pt idx="23">
                  <c:v>Edgewell Hawaiian Tropic Sheer Touch Sunscreen Adults Cosmetics Crema 30 - 49 240Ml</c:v>
                </c:pt>
                <c:pt idx="24">
                  <c:v>Edgewell Hawaiian Tropic Sheer Touch Sunscreen Adults Cosmetics Crema 50 120Ml</c:v>
                </c:pt>
                <c:pt idx="25">
                  <c:v>Edgewell Hawaiian Tropic Sheer Touch Sunscreen Adults Cosmetics Liquido 30 - 49 60Ml</c:v>
                </c:pt>
                <c:pt idx="26">
                  <c:v>Edgewell Hawaiian Tropic Tanning Sunscreen Adults Cosmetics Spray Liquido 15 - 19 220Ml</c:v>
                </c:pt>
              </c:strCache>
            </c:strRef>
          </c:cat>
          <c:val>
            <c:numRef>
              <c:f>Sheet1!$B$2:$B$28</c:f>
              <c:numCache>
                <c:formatCode>General</c:formatCode>
                <c:ptCount val="27"/>
                <c:pt idx="0">
                  <c:v>310.0</c:v>
                </c:pt>
                <c:pt idx="1">
                  <c:v>305.0</c:v>
                </c:pt>
                <c:pt idx="2">
                  <c:v>349.0</c:v>
                </c:pt>
                <c:pt idx="3">
                  <c:v>305.0</c:v>
                </c:pt>
                <c:pt idx="4">
                  <c:v>385.0</c:v>
                </c:pt>
                <c:pt idx="5">
                  <c:v>305.0</c:v>
                </c:pt>
                <c:pt idx="6">
                  <c:v>335.0</c:v>
                </c:pt>
                <c:pt idx="7">
                  <c:v>385.0</c:v>
                </c:pt>
                <c:pt idx="8">
                  <c:v>305.0</c:v>
                </c:pt>
                <c:pt idx="9">
                  <c:v>310.0</c:v>
                </c:pt>
                <c:pt idx="10">
                  <c:v>249.0</c:v>
                </c:pt>
                <c:pt idx="11">
                  <c:v>242.0</c:v>
                </c:pt>
                <c:pt idx="12">
                  <c:v>240.0</c:v>
                </c:pt>
                <c:pt idx="13">
                  <c:v>179.0</c:v>
                </c:pt>
                <c:pt idx="14">
                  <c:v>179.0</c:v>
                </c:pt>
                <c:pt idx="15">
                  <c:v>179.0</c:v>
                </c:pt>
                <c:pt idx="16">
                  <c:v>105.0</c:v>
                </c:pt>
                <c:pt idx="17">
                  <c:v>350.0</c:v>
                </c:pt>
                <c:pt idx="18">
                  <c:v>205.0</c:v>
                </c:pt>
                <c:pt idx="19">
                  <c:v>350.0</c:v>
                </c:pt>
                <c:pt idx="20">
                  <c:v>350.0</c:v>
                </c:pt>
                <c:pt idx="21">
                  <c:v>125.0</c:v>
                </c:pt>
                <c:pt idx="22">
                  <c:v>385.0</c:v>
                </c:pt>
                <c:pt idx="23">
                  <c:v>299.0</c:v>
                </c:pt>
                <c:pt idx="24">
                  <c:v>205.0</c:v>
                </c:pt>
                <c:pt idx="25">
                  <c:v>105.0</c:v>
                </c:pt>
                <c:pt idx="26">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Tanning Tanning Adults Cosmetics Spray Aceite 0 - 5 237Ml</c:v>
                </c:pt>
                <c:pt idx="1">
                  <c:v>Edgewell Hawaiian Tropic Carrot Tanning Adults Cosmetics Crema 10 - 14 240Ml</c:v>
                </c:pt>
              </c:strCache>
            </c:strRef>
          </c:cat>
          <c:val>
            <c:numRef>
              <c:f>Sheet1!$B$2:$B$3</c:f>
              <c:numCache>
                <c:formatCode>General</c:formatCode>
                <c:ptCount val="2"/>
                <c:pt idx="0">
                  <c:v>279.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dLbl>
              <c:idx val="11"/>
              <c:tx>
                <c:rich>
                  <a:bodyPr/>
                  <a:lstStyle/>
                  <a:p>
                    <a:r>
                      <a:t>659.0</a:t>
                    </a:r>
                  </a:p>
                </c:rich>
              </c:tx>
              <c:showLegendKey val="0"/>
              <c:showVal val="1"/>
              <c:showCatName val="0"/>
              <c:showSerName val="0"/>
              <c:showPercent val="0"/>
              <c:showBubbleSize val="0"/>
            </c:dLbl>
            <c:dLbl>
              <c:idx val="12"/>
              <c:tx>
                <c:rich>
                  <a:bodyPr/>
                  <a:lstStyle/>
                  <a:p>
                    <a:r>
                      <a:t>719.0</a:t>
                    </a:r>
                  </a:p>
                </c:rich>
              </c:tx>
              <c:showLegendKey val="0"/>
              <c:showVal val="1"/>
              <c:showCatName val="0"/>
              <c:showSerName val="0"/>
              <c:showPercent val="0"/>
              <c:showBubbleSize val="0"/>
            </c:dLbl>
            <c:dLbl>
              <c:idx val="13"/>
              <c:tx>
                <c:rich>
                  <a:bodyPr/>
                  <a:lstStyle/>
                  <a:p>
                    <a:r>
                      <a:t>683.48</a:t>
                    </a:r>
                  </a:p>
                </c:rich>
              </c:tx>
              <c:showLegendKey val="0"/>
              <c:showVal val="1"/>
              <c:showCatName val="0"/>
              <c:showSerName val="0"/>
              <c:showPercent val="0"/>
              <c:showBubbleSize val="0"/>
            </c:dLbl>
            <c:dLbl>
              <c:idx val="14"/>
              <c:tx>
                <c:rich>
                  <a:bodyPr/>
                  <a:lstStyle/>
                  <a:p>
                    <a:r>
                      <a:t>616.0</a:t>
                    </a:r>
                  </a:p>
                </c:rich>
              </c:tx>
              <c:showLegendKey val="0"/>
              <c:showVal val="1"/>
              <c:showCatName val="0"/>
              <c:showSerName val="0"/>
              <c:showPercent val="0"/>
              <c:showBubbleSize val="0"/>
            </c:dLbl>
            <c:dLbl>
              <c:idx val="15"/>
              <c:tx>
                <c:rich>
                  <a:bodyPr/>
                  <a:lstStyle/>
                  <a:p>
                    <a:r>
                      <a:t>590.0</a:t>
                    </a:r>
                  </a:p>
                </c:rich>
              </c:tx>
              <c:showLegendKey val="0"/>
              <c:showVal val="1"/>
              <c:showCatName val="0"/>
              <c:showSerName val="0"/>
              <c:showPercent val="0"/>
              <c:showBubbleSize val="0"/>
            </c:dLbl>
            <c:dLbl>
              <c:idx val="16"/>
              <c:tx>
                <c:rich>
                  <a:bodyPr/>
                  <a:lstStyle/>
                  <a:p>
                    <a:r>
                      <a:t>637.5</a:t>
                    </a:r>
                  </a:p>
                </c:rich>
              </c:tx>
              <c:showLegendKey val="0"/>
              <c:showVal val="1"/>
              <c:showCatName val="0"/>
              <c:showSerName val="0"/>
              <c:showPercent val="0"/>
              <c:showBubbleSize val="0"/>
            </c:dLbl>
            <c:dLbl>
              <c:idx val="17"/>
              <c:tx>
                <c:rich>
                  <a:bodyPr/>
                  <a:lstStyle/>
                  <a:p>
                    <a:r>
                      <a:t>719.0</a:t>
                    </a:r>
                  </a:p>
                </c:rich>
              </c:tx>
              <c:showLegendKey val="0"/>
              <c:showVal val="1"/>
              <c:showCatName val="0"/>
              <c:showSerName val="0"/>
              <c:showPercent val="0"/>
              <c:showBubbleSize val="0"/>
            </c:dLbl>
            <c:dLbl>
              <c:idx val="18"/>
              <c:tx>
                <c:rich>
                  <a:bodyPr/>
                  <a:lstStyle/>
                  <a:p>
                    <a:r>
                      <a:t>669.0</a:t>
                    </a:r>
                  </a:p>
                </c:rich>
              </c:tx>
              <c:showLegendKey val="0"/>
              <c:showVal val="1"/>
              <c:showCatName val="0"/>
              <c:showSerName val="0"/>
              <c:showPercent val="0"/>
              <c:showBubbleSize val="0"/>
            </c:dLbl>
            <c:dLbl>
              <c:idx val="19"/>
              <c:tx>
                <c:rich>
                  <a:bodyPr/>
                  <a:lstStyle/>
                  <a:p>
                    <a:r>
                      <a:t>709.0</a:t>
                    </a:r>
                  </a:p>
                </c:rich>
              </c:tx>
              <c:showLegendKey val="0"/>
              <c:showVal val="1"/>
              <c:showCatName val="0"/>
              <c:showSerName val="0"/>
              <c:showPercent val="0"/>
              <c:showBubbleSize val="0"/>
            </c:dLbl>
            <c:dLbl>
              <c:idx val="20"/>
              <c:tx>
                <c:rich>
                  <a:bodyPr/>
                  <a:lstStyle/>
                  <a:p>
                    <a:r>
                      <a:t>600.0</a:t>
                    </a:r>
                  </a:p>
                </c:rich>
              </c:tx>
              <c:showLegendKey val="0"/>
              <c:showVal val="1"/>
              <c:showCatName val="0"/>
              <c:showSerName val="0"/>
              <c:showPercent val="0"/>
              <c:showBubbleSize val="0"/>
            </c:dLbl>
            <c:dLbl>
              <c:idx val="21"/>
              <c:tx>
                <c:rich>
                  <a:bodyPr/>
                  <a:lstStyle/>
                  <a:p>
                    <a:r>
                      <a:t>594.89</a:t>
                    </a:r>
                  </a:p>
                </c:rich>
              </c:tx>
              <c:showLegendKey val="0"/>
              <c:showVal val="1"/>
              <c:showCatName val="0"/>
              <c:showSerName val="0"/>
              <c:showPercent val="0"/>
              <c:showBubbleSize val="0"/>
            </c:dLbl>
            <c:dLbl>
              <c:idx val="22"/>
              <c:tx>
                <c:rich>
                  <a:bodyPr/>
                  <a:lstStyle/>
                  <a:p>
                    <a:r>
                      <a:t>650.0</a:t>
                    </a:r>
                  </a:p>
                </c:rich>
              </c:tx>
              <c:showLegendKey val="0"/>
              <c:showVal val="1"/>
              <c:showCatName val="0"/>
              <c:showSerName val="0"/>
              <c:showPercent val="0"/>
              <c:showBubbleSize val="0"/>
            </c:dLbl>
            <c:dLbl>
              <c:idx val="23"/>
              <c:tx>
                <c:rich>
                  <a:bodyPr/>
                  <a:lstStyle/>
                  <a:p>
                    <a:r>
                      <a:t>829.0</a:t>
                    </a:r>
                  </a:p>
                </c:rich>
              </c:tx>
              <c:showLegendKey val="0"/>
              <c:showVal val="1"/>
              <c:showCatName val="0"/>
              <c:showSerName val="0"/>
              <c:showPercent val="0"/>
              <c:showBubbleSize val="0"/>
            </c:dLbl>
            <c:dLbl>
              <c:idx val="24"/>
              <c:tx>
                <c:rich>
                  <a:bodyPr/>
                  <a:lstStyle/>
                  <a:p>
                    <a:r>
                      <a:t>752.33</a:t>
                    </a:r>
                  </a:p>
                </c:rich>
              </c:tx>
              <c:showLegendKey val="0"/>
              <c:showVal val="1"/>
              <c:showCatName val="0"/>
              <c:showSerName val="0"/>
              <c:showPercent val="0"/>
              <c:showBubbleSize val="0"/>
            </c:dLbl>
            <c:dLbl>
              <c:idx val="25"/>
              <c:tx>
                <c:rich>
                  <a:bodyPr/>
                  <a:lstStyle/>
                  <a:p>
                    <a:r>
                      <a:t>586.37</a:t>
                    </a:r>
                  </a:p>
                </c:rich>
              </c:tx>
              <c:showLegendKey val="0"/>
              <c:showVal val="1"/>
              <c:showCatName val="0"/>
              <c:showSerName val="0"/>
              <c:showPercent val="0"/>
              <c:showBubbleSize val="0"/>
            </c:dLbl>
            <c:dLbl>
              <c:idx val="26"/>
              <c:tx>
                <c:rich>
                  <a:bodyPr/>
                  <a:lstStyle/>
                  <a:p>
                    <a:r>
                      <a:t>549.0</a:t>
                    </a:r>
                  </a:p>
                </c:rich>
              </c:tx>
              <c:showLegendKey val="0"/>
              <c:showVal val="1"/>
              <c:showCatName val="0"/>
              <c:showSerName val="0"/>
              <c:showPercent val="0"/>
              <c:showBubbleSize val="0"/>
            </c:dLbl>
            <c:dLbl>
              <c:idx val="27"/>
              <c:tx>
                <c:rich>
                  <a:bodyPr/>
                  <a:lstStyle/>
                  <a:p>
                    <a:r>
                      <a:t>689.0</a:t>
                    </a:r>
                  </a:p>
                </c:rich>
              </c:tx>
              <c:showLegendKey val="0"/>
              <c:showVal val="1"/>
              <c:showCatName val="0"/>
              <c:showSerName val="0"/>
              <c:showPercent val="0"/>
              <c:showBubbleSize val="0"/>
            </c:dLbl>
            <c:dLbl>
              <c:idx val="28"/>
              <c:tx>
                <c:rich>
                  <a:bodyPr/>
                  <a:lstStyle/>
                  <a:p>
                    <a:r>
                      <a:t>672.3</a:t>
                    </a:r>
                  </a:p>
                </c:rich>
              </c:tx>
              <c:showLegendKey val="0"/>
              <c:showVal val="1"/>
              <c:showCatName val="0"/>
              <c:showSerName val="0"/>
              <c:showPercent val="0"/>
              <c:showBubbleSize val="0"/>
            </c:dLbl>
            <c:dLbl>
              <c:idx val="29"/>
              <c:tx>
                <c:rich>
                  <a:bodyPr/>
                  <a:lstStyle/>
                  <a:p>
                    <a:r>
                      <a:t>254.33</a:t>
                    </a:r>
                  </a:p>
                </c:rich>
              </c:tx>
              <c:showLegendKey val="0"/>
              <c:showVal val="1"/>
              <c:showCatName val="0"/>
              <c:showSerName val="0"/>
              <c:showPercent val="0"/>
              <c:showBubbleSize val="0"/>
            </c:dLbl>
            <c:dLbl>
              <c:idx val="30"/>
              <c:tx>
                <c:rich>
                  <a:bodyPr/>
                  <a:lstStyle/>
                  <a:p>
                    <a:r>
                      <a:t>319.0</a:t>
                    </a:r>
                  </a:p>
                </c:rich>
              </c:tx>
              <c:showLegendKey val="0"/>
              <c:showVal val="1"/>
              <c:showCatName val="0"/>
              <c:showSerName val="0"/>
              <c:showPercent val="0"/>
              <c:showBubbleSize val="0"/>
            </c:dLbl>
            <c:dLbl>
              <c:idx val="31"/>
              <c:tx>
                <c:rich>
                  <a:bodyPr/>
                  <a:lstStyle/>
                  <a:p>
                    <a:r>
                      <a:t>220.0</a:t>
                    </a:r>
                  </a:p>
                </c:rich>
              </c:tx>
              <c:showLegendKey val="0"/>
              <c:showVal val="1"/>
              <c:showCatName val="0"/>
              <c:showSerName val="0"/>
              <c:showPercent val="0"/>
              <c:showBubbleSize val="0"/>
            </c:dLbl>
            <c:dLbl>
              <c:idx val="32"/>
              <c:tx>
                <c:rich>
                  <a:bodyPr/>
                  <a:lstStyle/>
                  <a:p>
                    <a:r>
                      <a:t>286.0</a:t>
                    </a:r>
                  </a:p>
                </c:rich>
              </c:tx>
              <c:showLegendKey val="0"/>
              <c:showVal val="1"/>
              <c:showCatName val="0"/>
              <c:showSerName val="0"/>
              <c:showPercent val="0"/>
              <c:showBubbleSize val="0"/>
            </c:dLbl>
            <c:dLbl>
              <c:idx val="33"/>
              <c:tx>
                <c:rich>
                  <a:bodyPr/>
                  <a:lstStyle/>
                  <a:p>
                    <a:r>
                      <a:t>311.0</a:t>
                    </a:r>
                  </a:p>
                </c:rich>
              </c:tx>
              <c:showLegendKey val="0"/>
              <c:showVal val="1"/>
              <c:showCatName val="0"/>
              <c:showSerName val="0"/>
              <c:showPercent val="0"/>
              <c:showBubbleSize val="0"/>
            </c:dLbl>
            <c:dLbl>
              <c:idx val="34"/>
              <c:tx>
                <c:rich>
                  <a:bodyPr/>
                  <a:lstStyle/>
                  <a:p>
                    <a:r>
                      <a:t>423.9</a:t>
                    </a:r>
                  </a:p>
                </c:rich>
              </c:tx>
              <c:showLegendKey val="0"/>
              <c:showVal val="1"/>
              <c:showCatName val="0"/>
              <c:showSerName val="0"/>
              <c:showPercent val="0"/>
              <c:showBubbleSize val="0"/>
            </c:dLbl>
            <c:dLbl>
              <c:idx val="35"/>
              <c:tx>
                <c:rich>
                  <a:bodyPr/>
                  <a:lstStyle/>
                  <a:p>
                    <a:r>
                      <a:t>278.0</a:t>
                    </a:r>
                  </a:p>
                </c:rich>
              </c:tx>
              <c:showLegendKey val="0"/>
              <c:showVal val="1"/>
              <c:showCatName val="0"/>
              <c:showSerName val="0"/>
              <c:showPercent val="0"/>
              <c:showBubbleSize val="0"/>
            </c:dLbl>
            <c:dLbl>
              <c:idx val="36"/>
              <c:tx>
                <c:rich>
                  <a:bodyPr/>
                  <a:lstStyle/>
                  <a:p>
                    <a:r>
                      <a:t>393.9</a:t>
                    </a:r>
                  </a:p>
                </c:rich>
              </c:tx>
              <c:showLegendKey val="0"/>
              <c:showVal val="1"/>
              <c:showCatName val="0"/>
              <c:showSerName val="0"/>
              <c:showPercent val="0"/>
              <c:showBubbleSize val="0"/>
            </c:dLbl>
            <c:dLbl>
              <c:idx val="37"/>
              <c:tx>
                <c:rich>
                  <a:bodyPr/>
                  <a:lstStyle/>
                  <a:p>
                    <a:r>
                      <a:t>188.0</a:t>
                    </a:r>
                  </a:p>
                </c:rich>
              </c:tx>
              <c:showLegendKey val="0"/>
              <c:showVal val="1"/>
              <c:showCatName val="0"/>
              <c:showSerName val="0"/>
              <c:showPercent val="0"/>
              <c:showBubbleSize val="0"/>
            </c:dLbl>
            <c:dLbl>
              <c:idx val="38"/>
              <c:tx>
                <c:rich>
                  <a:bodyPr/>
                  <a:lstStyle/>
                  <a:p>
                    <a:r>
                      <a:t>326.0</a:t>
                    </a:r>
                  </a:p>
                </c:rich>
              </c:tx>
              <c:showLegendKey val="0"/>
              <c:showVal val="1"/>
              <c:showCatName val="0"/>
              <c:showSerName val="0"/>
              <c:showPercent val="0"/>
              <c:showBubbleSize val="0"/>
            </c:dLbl>
            <c:dLbl>
              <c:idx val="39"/>
              <c:tx>
                <c:rich>
                  <a:bodyPr/>
                  <a:lstStyle/>
                  <a:p>
                    <a:r>
                      <a:t>349.0</a:t>
                    </a:r>
                  </a:p>
                </c:rich>
              </c:tx>
              <c:showLegendKey val="0"/>
              <c:showVal val="1"/>
              <c:showCatName val="0"/>
              <c:showSerName val="0"/>
              <c:showPercent val="0"/>
              <c:showBubbleSize val="0"/>
            </c:dLbl>
            <c:dLbl>
              <c:idx val="40"/>
              <c:tx>
                <c:rich>
                  <a:bodyPr/>
                  <a:lstStyle/>
                  <a:p>
                    <a:r>
                      <a:t>310.0</a:t>
                    </a:r>
                  </a:p>
                </c:rich>
              </c:tx>
              <c:showLegendKey val="0"/>
              <c:showVal val="1"/>
              <c:showCatName val="0"/>
              <c:showSerName val="0"/>
              <c:showPercent val="0"/>
              <c:showBubbleSize val="0"/>
            </c:dLbl>
            <c:dLbl>
              <c:idx val="41"/>
              <c:tx>
                <c:rich>
                  <a:bodyPr/>
                  <a:lstStyle/>
                  <a:p>
                    <a:r>
                      <a:t>36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3</c:f>
              <c:strCache>
                <c:ptCount val="42"/>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pt idx="11">
                  <c:v>Isdin Isdin Sunscreen Adults Derma Aceite 30 200Ml</c:v>
                </c:pt>
                <c:pt idx="12">
                  <c:v>Isdin Isdin Sunscreen Adults Derma Crema 30 50Ml</c:v>
                </c:pt>
                <c:pt idx="13">
                  <c:v>Isdin Isdin Sunscreen Adults Derma Crema 50 50Ml</c:v>
                </c:pt>
                <c:pt idx="14">
                  <c:v>Isdin Isdin Sunscreen Adults Derma Crema 50+ 50Ml</c:v>
                </c:pt>
                <c:pt idx="15">
                  <c:v>Isdin Isdin Sunscreen Adults Derma Fluido 50+ 50Ml</c:v>
                </c:pt>
                <c:pt idx="16">
                  <c:v>Isdin Isdin Sunscreen Adults Derma Gel 50+ 250Ml</c:v>
                </c:pt>
                <c:pt idx="17">
                  <c:v>Isdin Isdin Sunscreen Adults Derma Liquido 30 - 49 50Ml</c:v>
                </c:pt>
                <c:pt idx="18">
                  <c:v>Isdin Isdin Sunscreen Adults Derma Locion 50+ 200Ml</c:v>
                </c:pt>
                <c:pt idx="19">
                  <c:v>Isdin Isdin Sunscreen Adults Derma Spray Aceite 50 200Ml</c:v>
                </c:pt>
                <c:pt idx="20">
                  <c:v>Isdin Isdin Sunscreen Adults Derma Spray Liquido 50 100Ml</c:v>
                </c:pt>
                <c:pt idx="21">
                  <c:v>Isdin Isdin Sunscreen Adults Derma Stick 50 10Ml</c:v>
                </c:pt>
                <c:pt idx="22">
                  <c:v>Isdin Isdin Sunscreen Baby Derma Fluido 50 50Ml</c:v>
                </c:pt>
                <c:pt idx="23">
                  <c:v>L'Oreal La Roche-Posay Sunscreen Adults Derma Crema 50+ 250Ml</c:v>
                </c:pt>
                <c:pt idx="24">
                  <c:v>L'Oreal La Roche-Posay Sunscreen Adults Derma Crema 50+ 50Ml</c:v>
                </c:pt>
                <c:pt idx="25">
                  <c:v>L'Oreal La Roche-Posay Sunscreen Adults Derma Fluido 50+ 50Ml</c:v>
                </c:pt>
                <c:pt idx="26">
                  <c:v>L'Oreal La Roche-Posay Sunscreen Adults Derma Gel 50+ 50Ml</c:v>
                </c:pt>
                <c:pt idx="27">
                  <c:v>L'Oreal La Roche-Posay Sunscreen Adults Derma Liquido 50+ 50Ml</c:v>
                </c:pt>
                <c:pt idx="28">
                  <c:v>L'Oreal La Roche-Posay Sunscreen Adults Derma Spray Aceite 50 75Ml</c:v>
                </c:pt>
                <c:pt idx="29">
                  <c:v>Beiersdorf Nivea Sunscreen Adults Cosmetics Crema 50 50Ml</c:v>
                </c:pt>
                <c:pt idx="30">
                  <c:v>Beiersdorf Nivea Sunscreen Adults Cosmetics Crema 50+ 200Ml</c:v>
                </c:pt>
                <c:pt idx="31">
                  <c:v>Beiersdorf Nivea Sunscreen Adults Cosmetics Crema 50+ 40Ml</c:v>
                </c:pt>
                <c:pt idx="32">
                  <c:v>Beiersdorf Nivea Sunscreen Adults Cosmetics Crema 50+ 50Ml</c:v>
                </c:pt>
                <c:pt idx="33">
                  <c:v>Beiersdorf Nivea Sunscreen Adults Cosmetics Fluido 50+ 40Ml</c:v>
                </c:pt>
                <c:pt idx="34">
                  <c:v>Beiersdorf Nivea Sunscreen Adults Cosmetics Gel 50+ 200Ml</c:v>
                </c:pt>
                <c:pt idx="35">
                  <c:v>Beiersdorf Nivea Sunscreen Adults Cosmetics Liquido 30 - 49 200Ml</c:v>
                </c:pt>
                <c:pt idx="36">
                  <c:v>Beiersdorf Nivea Sunscreen Adults Cosmetics Liquido 50 200Ml</c:v>
                </c:pt>
                <c:pt idx="37">
                  <c:v>Beiersdorf Nivea Sunscreen Adults Cosmetics Liquido 50+ 125Ml</c:v>
                </c:pt>
                <c:pt idx="38">
                  <c:v>Beiersdorf Nivea Sunscreen Adults Cosmetics Spray Liquido 50 200Ml</c:v>
                </c:pt>
                <c:pt idx="39">
                  <c:v>Beiersdorf Nivea Sunscreen Kids Cosmetics Gel 50+ 150Ml</c:v>
                </c:pt>
                <c:pt idx="40">
                  <c:v>Beiersdorf Nivea Sunscreen Kids Cosmetics Liquido 50+ 200Ml</c:v>
                </c:pt>
                <c:pt idx="41">
                  <c:v>Beiersdorf Nivea Sunscreen Kids Cosmetics Spray Liquido 50+ 200Ml</c:v>
                </c:pt>
              </c:strCache>
            </c:strRef>
          </c:cat>
          <c:val>
            <c:numRef>
              <c:f>Sheet1!$B$2:$B$43</c:f>
              <c:numCache>
                <c:formatCode>General</c:formatCode>
                <c:ptCount val="42"/>
                <c:pt idx="0">
                  <c:v>105.0</c:v>
                </c:pt>
                <c:pt idx="1">
                  <c:v>350.0</c:v>
                </c:pt>
                <c:pt idx="2">
                  <c:v>205.0</c:v>
                </c:pt>
                <c:pt idx="3">
                  <c:v>350.0</c:v>
                </c:pt>
                <c:pt idx="4">
                  <c:v>350.0</c:v>
                </c:pt>
                <c:pt idx="5">
                  <c:v>125.0</c:v>
                </c:pt>
                <c:pt idx="6">
                  <c:v>385.0</c:v>
                </c:pt>
                <c:pt idx="7">
                  <c:v>299.0</c:v>
                </c:pt>
                <c:pt idx="8">
                  <c:v>205.0</c:v>
                </c:pt>
                <c:pt idx="9">
                  <c:v>105.0</c:v>
                </c:pt>
                <c:pt idx="10">
                  <c:v>315.0</c:v>
                </c:pt>
                <c:pt idx="11">
                  <c:v>659.0</c:v>
                </c:pt>
                <c:pt idx="12">
                  <c:v>719.0</c:v>
                </c:pt>
                <c:pt idx="13">
                  <c:v>683.48</c:v>
                </c:pt>
                <c:pt idx="14">
                  <c:v>616.0</c:v>
                </c:pt>
                <c:pt idx="15">
                  <c:v>590.0</c:v>
                </c:pt>
                <c:pt idx="16">
                  <c:v>637.5</c:v>
                </c:pt>
                <c:pt idx="17">
                  <c:v>719.0</c:v>
                </c:pt>
                <c:pt idx="18">
                  <c:v>669.0</c:v>
                </c:pt>
                <c:pt idx="19">
                  <c:v>709.0</c:v>
                </c:pt>
                <c:pt idx="20">
                  <c:v>600.0</c:v>
                </c:pt>
                <c:pt idx="21">
                  <c:v>594.89</c:v>
                </c:pt>
                <c:pt idx="22">
                  <c:v>650.0</c:v>
                </c:pt>
                <c:pt idx="23">
                  <c:v>829.0</c:v>
                </c:pt>
                <c:pt idx="24">
                  <c:v>752.33</c:v>
                </c:pt>
                <c:pt idx="25">
                  <c:v>586.37</c:v>
                </c:pt>
                <c:pt idx="26">
                  <c:v>549.0</c:v>
                </c:pt>
                <c:pt idx="27">
                  <c:v>689.0</c:v>
                </c:pt>
                <c:pt idx="28">
                  <c:v>672.3</c:v>
                </c:pt>
                <c:pt idx="29">
                  <c:v>254.33</c:v>
                </c:pt>
                <c:pt idx="30">
                  <c:v>319.0</c:v>
                </c:pt>
                <c:pt idx="31">
                  <c:v>220.0</c:v>
                </c:pt>
                <c:pt idx="32">
                  <c:v>286.0</c:v>
                </c:pt>
                <c:pt idx="33">
                  <c:v>311.0</c:v>
                </c:pt>
                <c:pt idx="34">
                  <c:v>423.9</c:v>
                </c:pt>
                <c:pt idx="35">
                  <c:v>278.0</c:v>
                </c:pt>
                <c:pt idx="36">
                  <c:v>393.9</c:v>
                </c:pt>
                <c:pt idx="37">
                  <c:v>188.0</c:v>
                </c:pt>
                <c:pt idx="38">
                  <c:v>326.0</c:v>
                </c:pt>
                <c:pt idx="39">
                  <c:v>349.0</c:v>
                </c:pt>
                <c:pt idx="40">
                  <c:v>310.0</c:v>
                </c:pt>
                <c:pt idx="41">
                  <c:v>36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9.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dLbl>
              <c:idx val="12"/>
              <c:tx>
                <c:rich>
                  <a:bodyPr/>
                  <a:lstStyle/>
                  <a:p>
                    <a:r>
                      <a:t>215.0</a:t>
                    </a:r>
                  </a:p>
                </c:rich>
              </c:tx>
              <c:showLegendKey val="0"/>
              <c:showVal val="1"/>
              <c:showCatName val="0"/>
              <c:showSerName val="0"/>
              <c:showPercent val="0"/>
              <c:showBubbleSize val="0"/>
            </c:dLbl>
            <c:dLbl>
              <c:idx val="13"/>
              <c:tx>
                <c:rich>
                  <a:bodyPr/>
                  <a:lstStyle/>
                  <a:p>
                    <a:r>
                      <a:t>179.0</a:t>
                    </a:r>
                  </a:p>
                </c:rich>
              </c:tx>
              <c:showLegendKey val="0"/>
              <c:showVal val="1"/>
              <c:showCatName val="0"/>
              <c:showSerName val="0"/>
              <c:showPercent val="0"/>
              <c:showBubbleSize val="0"/>
            </c:dLbl>
            <c:dLbl>
              <c:idx val="14"/>
              <c:tx>
                <c:rich>
                  <a:bodyPr/>
                  <a:lstStyle/>
                  <a:p>
                    <a:r>
                      <a:t>179.0</a:t>
                    </a:r>
                  </a:p>
                </c:rich>
              </c:tx>
              <c:showLegendKey val="0"/>
              <c:showVal val="1"/>
              <c:showCatName val="0"/>
              <c:showSerName val="0"/>
              <c:showPercent val="0"/>
              <c:showBubbleSize val="0"/>
            </c:dLbl>
            <c:dLbl>
              <c:idx val="15"/>
              <c:tx>
                <c:rich>
                  <a:bodyPr/>
                  <a:lstStyle/>
                  <a:p>
                    <a:r>
                      <a:t>179.0</a:t>
                    </a:r>
                  </a:p>
                </c:rich>
              </c:tx>
              <c:showLegendKey val="0"/>
              <c:showVal val="1"/>
              <c:showCatName val="0"/>
              <c:showSerName val="0"/>
              <c:showPercent val="0"/>
              <c:showBubbleSize val="0"/>
            </c:dLbl>
            <c:dLbl>
              <c:idx val="16"/>
              <c:tx>
                <c:rich>
                  <a:bodyPr/>
                  <a:lstStyle/>
                  <a:p>
                    <a:r>
                      <a:t>105.0</a:t>
                    </a:r>
                  </a:p>
                </c:rich>
              </c:tx>
              <c:showLegendKey val="0"/>
              <c:showVal val="1"/>
              <c:showCatName val="0"/>
              <c:showSerName val="0"/>
              <c:showPercent val="0"/>
              <c:showBubbleSize val="0"/>
            </c:dLbl>
            <c:dLbl>
              <c:idx val="17"/>
              <c:tx>
                <c:rich>
                  <a:bodyPr/>
                  <a:lstStyle/>
                  <a:p>
                    <a:r>
                      <a:t>350.0</a:t>
                    </a:r>
                  </a:p>
                </c:rich>
              </c:tx>
              <c:showLegendKey val="0"/>
              <c:showVal val="1"/>
              <c:showCatName val="0"/>
              <c:showSerName val="0"/>
              <c:showPercent val="0"/>
              <c:showBubbleSize val="0"/>
            </c:dLbl>
            <c:dLbl>
              <c:idx val="18"/>
              <c:tx>
                <c:rich>
                  <a:bodyPr/>
                  <a:lstStyle/>
                  <a:p>
                    <a:r>
                      <a:t>205.0</a:t>
                    </a:r>
                  </a:p>
                </c:rich>
              </c:tx>
              <c:showLegendKey val="0"/>
              <c:showVal val="1"/>
              <c:showCatName val="0"/>
              <c:showSerName val="0"/>
              <c:showPercent val="0"/>
              <c:showBubbleSize val="0"/>
            </c:dLbl>
            <c:dLbl>
              <c:idx val="19"/>
              <c:tx>
                <c:rich>
                  <a:bodyPr/>
                  <a:lstStyle/>
                  <a:p>
                    <a:r>
                      <a:t>350.0</a:t>
                    </a:r>
                  </a:p>
                </c:rich>
              </c:tx>
              <c:showLegendKey val="0"/>
              <c:showVal val="1"/>
              <c:showCatName val="0"/>
              <c:showSerName val="0"/>
              <c:showPercent val="0"/>
              <c:showBubbleSize val="0"/>
            </c:dLbl>
            <c:dLbl>
              <c:idx val="20"/>
              <c:tx>
                <c:rich>
                  <a:bodyPr/>
                  <a:lstStyle/>
                  <a:p>
                    <a:r>
                      <a:t>350.0</a:t>
                    </a:r>
                  </a:p>
                </c:rich>
              </c:tx>
              <c:showLegendKey val="0"/>
              <c:showVal val="1"/>
              <c:showCatName val="0"/>
              <c:showSerName val="0"/>
              <c:showPercent val="0"/>
              <c:showBubbleSize val="0"/>
            </c:dLbl>
            <c:dLbl>
              <c:idx val="21"/>
              <c:tx>
                <c:rich>
                  <a:bodyPr/>
                  <a:lstStyle/>
                  <a:p>
                    <a:r>
                      <a:t>125.0</a:t>
                    </a:r>
                  </a:p>
                </c:rich>
              </c:tx>
              <c:showLegendKey val="0"/>
              <c:showVal val="1"/>
              <c:showCatName val="0"/>
              <c:showSerName val="0"/>
              <c:showPercent val="0"/>
              <c:showBubbleSize val="0"/>
            </c:dLbl>
            <c:dLbl>
              <c:idx val="22"/>
              <c:tx>
                <c:rich>
                  <a:bodyPr/>
                  <a:lstStyle/>
                  <a:p>
                    <a:r>
                      <a:t>385.0</a:t>
                    </a:r>
                  </a:p>
                </c:rich>
              </c:tx>
              <c:showLegendKey val="0"/>
              <c:showVal val="1"/>
              <c:showCatName val="0"/>
              <c:showSerName val="0"/>
              <c:showPercent val="0"/>
              <c:showBubbleSize val="0"/>
            </c:dLbl>
            <c:dLbl>
              <c:idx val="23"/>
              <c:tx>
                <c:rich>
                  <a:bodyPr/>
                  <a:lstStyle/>
                  <a:p>
                    <a:r>
                      <a:t>299.0</a:t>
                    </a:r>
                  </a:p>
                </c:rich>
              </c:tx>
              <c:showLegendKey val="0"/>
              <c:showVal val="1"/>
              <c:showCatName val="0"/>
              <c:showSerName val="0"/>
              <c:showPercent val="0"/>
              <c:showBubbleSize val="0"/>
            </c:dLbl>
            <c:dLbl>
              <c:idx val="24"/>
              <c:tx>
                <c:rich>
                  <a:bodyPr/>
                  <a:lstStyle/>
                  <a:p>
                    <a:r>
                      <a:t>205.0</a:t>
                    </a:r>
                  </a:p>
                </c:rich>
              </c:tx>
              <c:showLegendKey val="0"/>
              <c:showVal val="1"/>
              <c:showCatName val="0"/>
              <c:showSerName val="0"/>
              <c:showPercent val="0"/>
              <c:showBubbleSize val="0"/>
            </c:dLbl>
            <c:dLbl>
              <c:idx val="25"/>
              <c:tx>
                <c:rich>
                  <a:bodyPr/>
                  <a:lstStyle/>
                  <a:p>
                    <a:r>
                      <a:t>105.0</a:t>
                    </a:r>
                  </a:p>
                </c:rich>
              </c:tx>
              <c:showLegendKey val="0"/>
              <c:showVal val="1"/>
              <c:showCatName val="0"/>
              <c:showSerName val="0"/>
              <c:showPercent val="0"/>
              <c:showBubbleSize val="0"/>
            </c:dLbl>
            <c:dLbl>
              <c:idx val="26"/>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Adults Sport Locion 50 180Ml</c:v>
                </c:pt>
                <c:pt idx="11">
                  <c:v>Edgewell Banana Boat Mineral Sunscreen Kids Cosmetics Locion 50 180Ml</c:v>
                </c:pt>
                <c:pt idx="12">
                  <c:v>Edgewell Banana Boat Ultra Sunscreen Adults Sport Roll-On 60+ 75Ml</c:v>
                </c:pt>
                <c:pt idx="13">
                  <c:v>Edgewell Beauty Care Antioxidant Sunscreen Adults Cosmetics Liquido 50+ 50Ml</c:v>
                </c:pt>
                <c:pt idx="14">
                  <c:v>Edgewell Beauty Care Matte Sunscreen Adults Cosmetics Liquido 30 50Ml</c:v>
                </c:pt>
                <c:pt idx="15">
                  <c:v>Edgewell Beauty Care Sensitive Sunscreen Adults Cosmetics Liquido 50+ 50Ml</c:v>
                </c:pt>
                <c:pt idx="16">
                  <c:v>Edgewell Hawaiian Tropic Island Sport Sunscreen Adults Sport Liquido 50 60Ml</c:v>
                </c:pt>
                <c:pt idx="17">
                  <c:v>Edgewell Hawaiian Tropic Other Sunscreen Adults Cosmetics Crema 50+ 240Ml</c:v>
                </c:pt>
                <c:pt idx="18">
                  <c:v>Edgewell Hawaiian Tropic Ozono Sunscreen Adults Cosmetics Liquido 50+ 120Ml</c:v>
                </c:pt>
                <c:pt idx="19">
                  <c:v>Edgewell Hawaiian Tropic Ozono Sunscreen Adults Cosmetics Liquido 50+ 180Ml</c:v>
                </c:pt>
                <c:pt idx="20">
                  <c:v>Edgewell Hawaiian Tropic Ozono Sunscreen Adults Cosmetics Liquido 50+ 240Ml</c:v>
                </c:pt>
                <c:pt idx="21">
                  <c:v>Edgewell Hawaiian Tropic Ozono Sunscreen Adults Cosmetics Liquido 50+ 90Ml</c:v>
                </c:pt>
                <c:pt idx="22">
                  <c:v>Edgewell Hawaiian Tropic Ozono Sunscreen Adults Cosmetics Spray Liquido 50+ 180Ml</c:v>
                </c:pt>
                <c:pt idx="23">
                  <c:v>Edgewell Hawaiian Tropic Sheer Touch Sunscreen Adults Cosmetics Crema 30 - 49 240Ml</c:v>
                </c:pt>
                <c:pt idx="24">
                  <c:v>Edgewell Hawaiian Tropic Sheer Touch Sunscreen Adults Cosmetics Crema 50 120Ml</c:v>
                </c:pt>
                <c:pt idx="25">
                  <c:v>Edgewell Hawaiian Tropic Sheer Touch Sunscreen Adults Cosmetics Liquido 30 - 49 60Ml</c:v>
                </c:pt>
                <c:pt idx="26">
                  <c:v>Edgewell Hawaiian Tropic Tanning Sunscreen Adults Cosmetics Spray Liquido 15 - 19 220Ml</c:v>
                </c:pt>
              </c:strCache>
            </c:strRef>
          </c:cat>
          <c:val>
            <c:numRef>
              <c:f>Sheet1!$B$2:$B$28</c:f>
              <c:numCache>
                <c:formatCode>General</c:formatCode>
                <c:ptCount val="27"/>
                <c:pt idx="0">
                  <c:v>310.0</c:v>
                </c:pt>
                <c:pt idx="1">
                  <c:v>305.0</c:v>
                </c:pt>
                <c:pt idx="2">
                  <c:v>349.0</c:v>
                </c:pt>
                <c:pt idx="3">
                  <c:v>305.0</c:v>
                </c:pt>
                <c:pt idx="4">
                  <c:v>367.5</c:v>
                </c:pt>
                <c:pt idx="5">
                  <c:v>305.0</c:v>
                </c:pt>
                <c:pt idx="6">
                  <c:v>335.0</c:v>
                </c:pt>
                <c:pt idx="7">
                  <c:v>385.0</c:v>
                </c:pt>
                <c:pt idx="8">
                  <c:v>305.0</c:v>
                </c:pt>
                <c:pt idx="9">
                  <c:v>310.0</c:v>
                </c:pt>
                <c:pt idx="10">
                  <c:v>249.0</c:v>
                </c:pt>
                <c:pt idx="11">
                  <c:v>242.0</c:v>
                </c:pt>
                <c:pt idx="12">
                  <c:v>215.0</c:v>
                </c:pt>
                <c:pt idx="13">
                  <c:v>179.0</c:v>
                </c:pt>
                <c:pt idx="14">
                  <c:v>179.0</c:v>
                </c:pt>
                <c:pt idx="15">
                  <c:v>179.0</c:v>
                </c:pt>
                <c:pt idx="16">
                  <c:v>105.0</c:v>
                </c:pt>
                <c:pt idx="17">
                  <c:v>350.0</c:v>
                </c:pt>
                <c:pt idx="18">
                  <c:v>205.0</c:v>
                </c:pt>
                <c:pt idx="19">
                  <c:v>350.0</c:v>
                </c:pt>
                <c:pt idx="20">
                  <c:v>350.0</c:v>
                </c:pt>
                <c:pt idx="21">
                  <c:v>125.0</c:v>
                </c:pt>
                <c:pt idx="22">
                  <c:v>385.0</c:v>
                </c:pt>
                <c:pt idx="23">
                  <c:v>299.0</c:v>
                </c:pt>
                <c:pt idx="24">
                  <c:v>205.0</c:v>
                </c:pt>
                <c:pt idx="25">
                  <c:v>105.0</c:v>
                </c:pt>
                <c:pt idx="26">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Tanning Tanning Adults Cosmetics Spray Aceite 0 - 5 237Ml</c:v>
                </c:pt>
                <c:pt idx="1">
                  <c:v>Edgewell Hawaiian Tropic Carrot Tanning Adults Cosmetics Crema 10 - 14 240Ml</c:v>
                </c:pt>
              </c:strCache>
            </c:strRef>
          </c:cat>
          <c:val>
            <c:numRef>
              <c:f>Sheet1!$B$2:$B$3</c:f>
              <c:numCache>
                <c:formatCode>General</c:formatCode>
                <c:ptCount val="2"/>
                <c:pt idx="0">
                  <c:v>279.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Tanning Tanning Adults Cosmetics Spray Aceite 0 - 5 237Ml</c:v>
                </c:pt>
                <c:pt idx="1">
                  <c:v>Edgewell Hawaiian Tropic Carrot Tanning Adults Cosmetics Crema 10 - 14 240Ml</c:v>
                </c:pt>
              </c:strCache>
            </c:strRef>
          </c:cat>
          <c:val>
            <c:numRef>
              <c:f>Sheet1!$B$2:$B$3</c:f>
              <c:numCache>
                <c:formatCode>General</c:formatCode>
                <c:ptCount val="2"/>
                <c:pt idx="0">
                  <c:v>279.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9.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dLbl>
              <c:idx val="12"/>
              <c:tx>
                <c:rich>
                  <a:bodyPr/>
                  <a:lstStyle/>
                  <a:p>
                    <a:r>
                      <a:t>215.0</a:t>
                    </a:r>
                  </a:p>
                </c:rich>
              </c:tx>
              <c:showLegendKey val="0"/>
              <c:showVal val="1"/>
              <c:showCatName val="0"/>
              <c:showSerName val="0"/>
              <c:showPercent val="0"/>
              <c:showBubbleSize val="0"/>
            </c:dLbl>
            <c:dLbl>
              <c:idx val="13"/>
              <c:tx>
                <c:rich>
                  <a:bodyPr/>
                  <a:lstStyle/>
                  <a:p>
                    <a:r>
                      <a:t>179.0</a:t>
                    </a:r>
                  </a:p>
                </c:rich>
              </c:tx>
              <c:showLegendKey val="0"/>
              <c:showVal val="1"/>
              <c:showCatName val="0"/>
              <c:showSerName val="0"/>
              <c:showPercent val="0"/>
              <c:showBubbleSize val="0"/>
            </c:dLbl>
            <c:dLbl>
              <c:idx val="14"/>
              <c:tx>
                <c:rich>
                  <a:bodyPr/>
                  <a:lstStyle/>
                  <a:p>
                    <a:r>
                      <a:t>179.0</a:t>
                    </a:r>
                  </a:p>
                </c:rich>
              </c:tx>
              <c:showLegendKey val="0"/>
              <c:showVal val="1"/>
              <c:showCatName val="0"/>
              <c:showSerName val="0"/>
              <c:showPercent val="0"/>
              <c:showBubbleSize val="0"/>
            </c:dLbl>
            <c:dLbl>
              <c:idx val="15"/>
              <c:tx>
                <c:rich>
                  <a:bodyPr/>
                  <a:lstStyle/>
                  <a:p>
                    <a:r>
                      <a:t>179.0</a:t>
                    </a:r>
                  </a:p>
                </c:rich>
              </c:tx>
              <c:showLegendKey val="0"/>
              <c:showVal val="1"/>
              <c:showCatName val="0"/>
              <c:showSerName val="0"/>
              <c:showPercent val="0"/>
              <c:showBubbleSize val="0"/>
            </c:dLbl>
            <c:dLbl>
              <c:idx val="16"/>
              <c:tx>
                <c:rich>
                  <a:bodyPr/>
                  <a:lstStyle/>
                  <a:p>
                    <a:r>
                      <a:t>105.0</a:t>
                    </a:r>
                  </a:p>
                </c:rich>
              </c:tx>
              <c:showLegendKey val="0"/>
              <c:showVal val="1"/>
              <c:showCatName val="0"/>
              <c:showSerName val="0"/>
              <c:showPercent val="0"/>
              <c:showBubbleSize val="0"/>
            </c:dLbl>
            <c:dLbl>
              <c:idx val="17"/>
              <c:tx>
                <c:rich>
                  <a:bodyPr/>
                  <a:lstStyle/>
                  <a:p>
                    <a:r>
                      <a:t>350.0</a:t>
                    </a:r>
                  </a:p>
                </c:rich>
              </c:tx>
              <c:showLegendKey val="0"/>
              <c:showVal val="1"/>
              <c:showCatName val="0"/>
              <c:showSerName val="0"/>
              <c:showPercent val="0"/>
              <c:showBubbleSize val="0"/>
            </c:dLbl>
            <c:dLbl>
              <c:idx val="18"/>
              <c:tx>
                <c:rich>
                  <a:bodyPr/>
                  <a:lstStyle/>
                  <a:p>
                    <a:r>
                      <a:t>205.0</a:t>
                    </a:r>
                  </a:p>
                </c:rich>
              </c:tx>
              <c:showLegendKey val="0"/>
              <c:showVal val="1"/>
              <c:showCatName val="0"/>
              <c:showSerName val="0"/>
              <c:showPercent val="0"/>
              <c:showBubbleSize val="0"/>
            </c:dLbl>
            <c:dLbl>
              <c:idx val="19"/>
              <c:tx>
                <c:rich>
                  <a:bodyPr/>
                  <a:lstStyle/>
                  <a:p>
                    <a:r>
                      <a:t>350.0</a:t>
                    </a:r>
                  </a:p>
                </c:rich>
              </c:tx>
              <c:showLegendKey val="0"/>
              <c:showVal val="1"/>
              <c:showCatName val="0"/>
              <c:showSerName val="0"/>
              <c:showPercent val="0"/>
              <c:showBubbleSize val="0"/>
            </c:dLbl>
            <c:dLbl>
              <c:idx val="20"/>
              <c:tx>
                <c:rich>
                  <a:bodyPr/>
                  <a:lstStyle/>
                  <a:p>
                    <a:r>
                      <a:t>350.0</a:t>
                    </a:r>
                  </a:p>
                </c:rich>
              </c:tx>
              <c:showLegendKey val="0"/>
              <c:showVal val="1"/>
              <c:showCatName val="0"/>
              <c:showSerName val="0"/>
              <c:showPercent val="0"/>
              <c:showBubbleSize val="0"/>
            </c:dLbl>
            <c:dLbl>
              <c:idx val="21"/>
              <c:tx>
                <c:rich>
                  <a:bodyPr/>
                  <a:lstStyle/>
                  <a:p>
                    <a:r>
                      <a:t>125.0</a:t>
                    </a:r>
                  </a:p>
                </c:rich>
              </c:tx>
              <c:showLegendKey val="0"/>
              <c:showVal val="1"/>
              <c:showCatName val="0"/>
              <c:showSerName val="0"/>
              <c:showPercent val="0"/>
              <c:showBubbleSize val="0"/>
            </c:dLbl>
            <c:dLbl>
              <c:idx val="22"/>
              <c:tx>
                <c:rich>
                  <a:bodyPr/>
                  <a:lstStyle/>
                  <a:p>
                    <a:r>
                      <a:t>385.0</a:t>
                    </a:r>
                  </a:p>
                </c:rich>
              </c:tx>
              <c:showLegendKey val="0"/>
              <c:showVal val="1"/>
              <c:showCatName val="0"/>
              <c:showSerName val="0"/>
              <c:showPercent val="0"/>
              <c:showBubbleSize val="0"/>
            </c:dLbl>
            <c:dLbl>
              <c:idx val="23"/>
              <c:tx>
                <c:rich>
                  <a:bodyPr/>
                  <a:lstStyle/>
                  <a:p>
                    <a:r>
                      <a:t>299.0</a:t>
                    </a:r>
                  </a:p>
                </c:rich>
              </c:tx>
              <c:showLegendKey val="0"/>
              <c:showVal val="1"/>
              <c:showCatName val="0"/>
              <c:showSerName val="0"/>
              <c:showPercent val="0"/>
              <c:showBubbleSize val="0"/>
            </c:dLbl>
            <c:dLbl>
              <c:idx val="24"/>
              <c:tx>
                <c:rich>
                  <a:bodyPr/>
                  <a:lstStyle/>
                  <a:p>
                    <a:r>
                      <a:t>205.0</a:t>
                    </a:r>
                  </a:p>
                </c:rich>
              </c:tx>
              <c:showLegendKey val="0"/>
              <c:showVal val="1"/>
              <c:showCatName val="0"/>
              <c:showSerName val="0"/>
              <c:showPercent val="0"/>
              <c:showBubbleSize val="0"/>
            </c:dLbl>
            <c:dLbl>
              <c:idx val="25"/>
              <c:tx>
                <c:rich>
                  <a:bodyPr/>
                  <a:lstStyle/>
                  <a:p>
                    <a:r>
                      <a:t>105.0</a:t>
                    </a:r>
                  </a:p>
                </c:rich>
              </c:tx>
              <c:showLegendKey val="0"/>
              <c:showVal val="1"/>
              <c:showCatName val="0"/>
              <c:showSerName val="0"/>
              <c:showPercent val="0"/>
              <c:showBubbleSize val="0"/>
            </c:dLbl>
            <c:dLbl>
              <c:idx val="26"/>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Adults Sport Locion 50 180Ml</c:v>
                </c:pt>
                <c:pt idx="11">
                  <c:v>Edgewell Banana Boat Mineral Sunscreen Kids Cosmetics Locion 50 180Ml</c:v>
                </c:pt>
                <c:pt idx="12">
                  <c:v>Edgewell Banana Boat Ultra Sunscreen Adults Sport Roll-On 60+ 75Ml</c:v>
                </c:pt>
                <c:pt idx="13">
                  <c:v>Edgewell Beauty Care Antioxidant Sunscreen Adults Cosmetics Liquido 50+ 50Ml</c:v>
                </c:pt>
                <c:pt idx="14">
                  <c:v>Edgewell Beauty Care Matte Sunscreen Adults Cosmetics Liquido 30 50Ml</c:v>
                </c:pt>
                <c:pt idx="15">
                  <c:v>Edgewell Beauty Care Sensitive Sunscreen Adults Cosmetics Liquido 50+ 50Ml</c:v>
                </c:pt>
                <c:pt idx="16">
                  <c:v>Edgewell Hawaiian Tropic Island Sport Sunscreen Adults Sport Liquido 50 60Ml</c:v>
                </c:pt>
                <c:pt idx="17">
                  <c:v>Edgewell Hawaiian Tropic Other Sunscreen Adults Cosmetics Crema 50+ 240Ml</c:v>
                </c:pt>
                <c:pt idx="18">
                  <c:v>Edgewell Hawaiian Tropic Ozono Sunscreen Adults Cosmetics Liquido 50+ 120Ml</c:v>
                </c:pt>
                <c:pt idx="19">
                  <c:v>Edgewell Hawaiian Tropic Ozono Sunscreen Adults Cosmetics Liquido 50+ 180Ml</c:v>
                </c:pt>
                <c:pt idx="20">
                  <c:v>Edgewell Hawaiian Tropic Ozono Sunscreen Adults Cosmetics Liquido 50+ 240Ml</c:v>
                </c:pt>
                <c:pt idx="21">
                  <c:v>Edgewell Hawaiian Tropic Ozono Sunscreen Adults Cosmetics Liquido 50+ 90Ml</c:v>
                </c:pt>
                <c:pt idx="22">
                  <c:v>Edgewell Hawaiian Tropic Ozono Sunscreen Adults Cosmetics Spray Liquido 50+ 180Ml</c:v>
                </c:pt>
                <c:pt idx="23">
                  <c:v>Edgewell Hawaiian Tropic Sheer Touch Sunscreen Adults Cosmetics Crema 30 - 49 240Ml</c:v>
                </c:pt>
                <c:pt idx="24">
                  <c:v>Edgewell Hawaiian Tropic Sheer Touch Sunscreen Adults Cosmetics Crema 50 120Ml</c:v>
                </c:pt>
                <c:pt idx="25">
                  <c:v>Edgewell Hawaiian Tropic Sheer Touch Sunscreen Adults Cosmetics Liquido 30 - 49 60Ml</c:v>
                </c:pt>
                <c:pt idx="26">
                  <c:v>Edgewell Hawaiian Tropic Tanning Sunscreen Adults Cosmetics Spray Liquido 15 - 19 220Ml</c:v>
                </c:pt>
              </c:strCache>
            </c:strRef>
          </c:cat>
          <c:val>
            <c:numRef>
              <c:f>Sheet1!$B$2:$B$28</c:f>
              <c:numCache>
                <c:formatCode>General</c:formatCode>
                <c:ptCount val="27"/>
                <c:pt idx="0">
                  <c:v>310.0</c:v>
                </c:pt>
                <c:pt idx="1">
                  <c:v>305.0</c:v>
                </c:pt>
                <c:pt idx="2">
                  <c:v>349.0</c:v>
                </c:pt>
                <c:pt idx="3">
                  <c:v>305.0</c:v>
                </c:pt>
                <c:pt idx="4">
                  <c:v>367.5</c:v>
                </c:pt>
                <c:pt idx="5">
                  <c:v>305.0</c:v>
                </c:pt>
                <c:pt idx="6">
                  <c:v>335.0</c:v>
                </c:pt>
                <c:pt idx="7">
                  <c:v>385.0</c:v>
                </c:pt>
                <c:pt idx="8">
                  <c:v>305.0</c:v>
                </c:pt>
                <c:pt idx="9">
                  <c:v>310.0</c:v>
                </c:pt>
                <c:pt idx="10">
                  <c:v>249.0</c:v>
                </c:pt>
                <c:pt idx="11">
                  <c:v>242.0</c:v>
                </c:pt>
                <c:pt idx="12">
                  <c:v>215.0</c:v>
                </c:pt>
                <c:pt idx="13">
                  <c:v>179.0</c:v>
                </c:pt>
                <c:pt idx="14">
                  <c:v>179.0</c:v>
                </c:pt>
                <c:pt idx="15">
                  <c:v>179.0</c:v>
                </c:pt>
                <c:pt idx="16">
                  <c:v>105.0</c:v>
                </c:pt>
                <c:pt idx="17">
                  <c:v>350.0</c:v>
                </c:pt>
                <c:pt idx="18">
                  <c:v>205.0</c:v>
                </c:pt>
                <c:pt idx="19">
                  <c:v>350.0</c:v>
                </c:pt>
                <c:pt idx="20">
                  <c:v>350.0</c:v>
                </c:pt>
                <c:pt idx="21">
                  <c:v>125.0</c:v>
                </c:pt>
                <c:pt idx="22">
                  <c:v>385.0</c:v>
                </c:pt>
                <c:pt idx="23">
                  <c:v>299.0</c:v>
                </c:pt>
                <c:pt idx="24">
                  <c:v>205.0</c:v>
                </c:pt>
                <c:pt idx="25">
                  <c:v>105.0</c:v>
                </c:pt>
                <c:pt idx="26">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Tanning Tanning Adults Cosmetics Spray Aceite 0 - 5 237Ml</c:v>
                </c:pt>
                <c:pt idx="1">
                  <c:v>Edgewell Hawaiian Tropic Carrot Tanning Adults Cosmetics Crema 10 - 14 240Ml</c:v>
                </c:pt>
              </c:strCache>
            </c:strRef>
          </c:cat>
          <c:val>
            <c:numRef>
              <c:f>Sheet1!$B$2:$B$3</c:f>
              <c:numCache>
                <c:formatCode>General</c:formatCode>
                <c:ptCount val="2"/>
                <c:pt idx="0">
                  <c:v>279.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249.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15.0</a:t>
                    </a:r>
                  </a:p>
                </c:rich>
              </c:tx>
              <c:showLegendKey val="0"/>
              <c:showVal val="1"/>
              <c:showCatName val="0"/>
              <c:showSerName val="0"/>
              <c:showPercent val="0"/>
              <c:showBubbleSize val="0"/>
            </c:dLbl>
            <c:dLbl>
              <c:idx val="14"/>
              <c:tx>
                <c:rich>
                  <a:bodyPr/>
                  <a:lstStyle/>
                  <a:p>
                    <a:r>
                      <a:t>659.0</a:t>
                    </a:r>
                  </a:p>
                </c:rich>
              </c:tx>
              <c:showLegendKey val="0"/>
              <c:showVal val="1"/>
              <c:showCatName val="0"/>
              <c:showSerName val="0"/>
              <c:showPercent val="0"/>
              <c:showBubbleSize val="0"/>
            </c:dLbl>
            <c:dLbl>
              <c:idx val="15"/>
              <c:tx>
                <c:rich>
                  <a:bodyPr/>
                  <a:lstStyle/>
                  <a:p>
                    <a:r>
                      <a:t>719.0</a:t>
                    </a:r>
                  </a:p>
                </c:rich>
              </c:tx>
              <c:showLegendKey val="0"/>
              <c:showVal val="1"/>
              <c:showCatName val="0"/>
              <c:showSerName val="0"/>
              <c:showPercent val="0"/>
              <c:showBubbleSize val="0"/>
            </c:dLbl>
            <c:dLbl>
              <c:idx val="16"/>
              <c:tx>
                <c:rich>
                  <a:bodyPr/>
                  <a:lstStyle/>
                  <a:p>
                    <a:r>
                      <a:t>683.48</a:t>
                    </a:r>
                  </a:p>
                </c:rich>
              </c:tx>
              <c:showLegendKey val="0"/>
              <c:showVal val="1"/>
              <c:showCatName val="0"/>
              <c:showSerName val="0"/>
              <c:showPercent val="0"/>
              <c:showBubbleSize val="0"/>
            </c:dLbl>
            <c:dLbl>
              <c:idx val="17"/>
              <c:tx>
                <c:rich>
                  <a:bodyPr/>
                  <a:lstStyle/>
                  <a:p>
                    <a:r>
                      <a:t>616.0</a:t>
                    </a:r>
                  </a:p>
                </c:rich>
              </c:tx>
              <c:showLegendKey val="0"/>
              <c:showVal val="1"/>
              <c:showCatName val="0"/>
              <c:showSerName val="0"/>
              <c:showPercent val="0"/>
              <c:showBubbleSize val="0"/>
            </c:dLbl>
            <c:dLbl>
              <c:idx val="18"/>
              <c:tx>
                <c:rich>
                  <a:bodyPr/>
                  <a:lstStyle/>
                  <a:p>
                    <a:r>
                      <a:t>590.0</a:t>
                    </a:r>
                  </a:p>
                </c:rich>
              </c:tx>
              <c:showLegendKey val="0"/>
              <c:showVal val="1"/>
              <c:showCatName val="0"/>
              <c:showSerName val="0"/>
              <c:showPercent val="0"/>
              <c:showBubbleSize val="0"/>
            </c:dLbl>
            <c:dLbl>
              <c:idx val="19"/>
              <c:tx>
                <c:rich>
                  <a:bodyPr/>
                  <a:lstStyle/>
                  <a:p>
                    <a:r>
                      <a:t>637.5</a:t>
                    </a:r>
                  </a:p>
                </c:rich>
              </c:tx>
              <c:showLegendKey val="0"/>
              <c:showVal val="1"/>
              <c:showCatName val="0"/>
              <c:showSerName val="0"/>
              <c:showPercent val="0"/>
              <c:showBubbleSize val="0"/>
            </c:dLbl>
            <c:dLbl>
              <c:idx val="20"/>
              <c:tx>
                <c:rich>
                  <a:bodyPr/>
                  <a:lstStyle/>
                  <a:p>
                    <a:r>
                      <a:t>719.0</a:t>
                    </a:r>
                  </a:p>
                </c:rich>
              </c:tx>
              <c:showLegendKey val="0"/>
              <c:showVal val="1"/>
              <c:showCatName val="0"/>
              <c:showSerName val="0"/>
              <c:showPercent val="0"/>
              <c:showBubbleSize val="0"/>
            </c:dLbl>
            <c:dLbl>
              <c:idx val="21"/>
              <c:tx>
                <c:rich>
                  <a:bodyPr/>
                  <a:lstStyle/>
                  <a:p>
                    <a:r>
                      <a:t>669.0</a:t>
                    </a:r>
                  </a:p>
                </c:rich>
              </c:tx>
              <c:showLegendKey val="0"/>
              <c:showVal val="1"/>
              <c:showCatName val="0"/>
              <c:showSerName val="0"/>
              <c:showPercent val="0"/>
              <c:showBubbleSize val="0"/>
            </c:dLbl>
            <c:dLbl>
              <c:idx val="22"/>
              <c:tx>
                <c:rich>
                  <a:bodyPr/>
                  <a:lstStyle/>
                  <a:p>
                    <a:r>
                      <a:t>709.0</a:t>
                    </a:r>
                  </a:p>
                </c:rich>
              </c:tx>
              <c:showLegendKey val="0"/>
              <c:showVal val="1"/>
              <c:showCatName val="0"/>
              <c:showSerName val="0"/>
              <c:showPercent val="0"/>
              <c:showBubbleSize val="0"/>
            </c:dLbl>
            <c:dLbl>
              <c:idx val="23"/>
              <c:tx>
                <c:rich>
                  <a:bodyPr/>
                  <a:lstStyle/>
                  <a:p>
                    <a:r>
                      <a:t>600.0</a:t>
                    </a:r>
                  </a:p>
                </c:rich>
              </c:tx>
              <c:showLegendKey val="0"/>
              <c:showVal val="1"/>
              <c:showCatName val="0"/>
              <c:showSerName val="0"/>
              <c:showPercent val="0"/>
              <c:showBubbleSize val="0"/>
            </c:dLbl>
            <c:dLbl>
              <c:idx val="24"/>
              <c:tx>
                <c:rich>
                  <a:bodyPr/>
                  <a:lstStyle/>
                  <a:p>
                    <a:r>
                      <a:t>594.89</a:t>
                    </a:r>
                  </a:p>
                </c:rich>
              </c:tx>
              <c:showLegendKey val="0"/>
              <c:showVal val="1"/>
              <c:showCatName val="0"/>
              <c:showSerName val="0"/>
              <c:showPercent val="0"/>
              <c:showBubbleSize val="0"/>
            </c:dLbl>
            <c:dLbl>
              <c:idx val="25"/>
              <c:tx>
                <c:rich>
                  <a:bodyPr/>
                  <a:lstStyle/>
                  <a:p>
                    <a:r>
                      <a:t>650.0</a:t>
                    </a:r>
                  </a:p>
                </c:rich>
              </c:tx>
              <c:showLegendKey val="0"/>
              <c:showVal val="1"/>
              <c:showCatName val="0"/>
              <c:showSerName val="0"/>
              <c:showPercent val="0"/>
              <c:showBubbleSize val="0"/>
            </c:dLbl>
            <c:dLbl>
              <c:idx val="26"/>
              <c:tx>
                <c:rich>
                  <a:bodyPr/>
                  <a:lstStyle/>
                  <a:p>
                    <a:r>
                      <a:t>829.0</a:t>
                    </a:r>
                  </a:p>
                </c:rich>
              </c:tx>
              <c:showLegendKey val="0"/>
              <c:showVal val="1"/>
              <c:showCatName val="0"/>
              <c:showSerName val="0"/>
              <c:showPercent val="0"/>
              <c:showBubbleSize val="0"/>
            </c:dLbl>
            <c:dLbl>
              <c:idx val="27"/>
              <c:tx>
                <c:rich>
                  <a:bodyPr/>
                  <a:lstStyle/>
                  <a:p>
                    <a:r>
                      <a:t>752.33</a:t>
                    </a:r>
                  </a:p>
                </c:rich>
              </c:tx>
              <c:showLegendKey val="0"/>
              <c:showVal val="1"/>
              <c:showCatName val="0"/>
              <c:showSerName val="0"/>
              <c:showPercent val="0"/>
              <c:showBubbleSize val="0"/>
            </c:dLbl>
            <c:dLbl>
              <c:idx val="28"/>
              <c:tx>
                <c:rich>
                  <a:bodyPr/>
                  <a:lstStyle/>
                  <a:p>
                    <a:r>
                      <a:t>586.37</a:t>
                    </a:r>
                  </a:p>
                </c:rich>
              </c:tx>
              <c:showLegendKey val="0"/>
              <c:showVal val="1"/>
              <c:showCatName val="0"/>
              <c:showSerName val="0"/>
              <c:showPercent val="0"/>
              <c:showBubbleSize val="0"/>
            </c:dLbl>
            <c:dLbl>
              <c:idx val="29"/>
              <c:tx>
                <c:rich>
                  <a:bodyPr/>
                  <a:lstStyle/>
                  <a:p>
                    <a:r>
                      <a:t>549.0</a:t>
                    </a:r>
                  </a:p>
                </c:rich>
              </c:tx>
              <c:showLegendKey val="0"/>
              <c:showVal val="1"/>
              <c:showCatName val="0"/>
              <c:showSerName val="0"/>
              <c:showPercent val="0"/>
              <c:showBubbleSize val="0"/>
            </c:dLbl>
            <c:dLbl>
              <c:idx val="30"/>
              <c:tx>
                <c:rich>
                  <a:bodyPr/>
                  <a:lstStyle/>
                  <a:p>
                    <a:r>
                      <a:t>689.0</a:t>
                    </a:r>
                  </a:p>
                </c:rich>
              </c:tx>
              <c:showLegendKey val="0"/>
              <c:showVal val="1"/>
              <c:showCatName val="0"/>
              <c:showSerName val="0"/>
              <c:showPercent val="0"/>
              <c:showBubbleSize val="0"/>
            </c:dLbl>
            <c:dLbl>
              <c:idx val="31"/>
              <c:tx>
                <c:rich>
                  <a:bodyPr/>
                  <a:lstStyle/>
                  <a:p>
                    <a:r>
                      <a:t>672.3</a:t>
                    </a:r>
                  </a:p>
                </c:rich>
              </c:tx>
              <c:showLegendKey val="0"/>
              <c:showVal val="1"/>
              <c:showCatName val="0"/>
              <c:showSerName val="0"/>
              <c:showPercent val="0"/>
              <c:showBubbleSize val="0"/>
            </c:dLbl>
            <c:dLbl>
              <c:idx val="32"/>
              <c:tx>
                <c:rich>
                  <a:bodyPr/>
                  <a:lstStyle/>
                  <a:p>
                    <a:r>
                      <a:t>254.33</a:t>
                    </a:r>
                  </a:p>
                </c:rich>
              </c:tx>
              <c:showLegendKey val="0"/>
              <c:showVal val="1"/>
              <c:showCatName val="0"/>
              <c:showSerName val="0"/>
              <c:showPercent val="0"/>
              <c:showBubbleSize val="0"/>
            </c:dLbl>
            <c:dLbl>
              <c:idx val="33"/>
              <c:tx>
                <c:rich>
                  <a:bodyPr/>
                  <a:lstStyle/>
                  <a:p>
                    <a:r>
                      <a:t>319.0</a:t>
                    </a:r>
                  </a:p>
                </c:rich>
              </c:tx>
              <c:showLegendKey val="0"/>
              <c:showVal val="1"/>
              <c:showCatName val="0"/>
              <c:showSerName val="0"/>
              <c:showPercent val="0"/>
              <c:showBubbleSize val="0"/>
            </c:dLbl>
            <c:dLbl>
              <c:idx val="34"/>
              <c:tx>
                <c:rich>
                  <a:bodyPr/>
                  <a:lstStyle/>
                  <a:p>
                    <a:r>
                      <a:t>220.0</a:t>
                    </a:r>
                  </a:p>
                </c:rich>
              </c:tx>
              <c:showLegendKey val="0"/>
              <c:showVal val="1"/>
              <c:showCatName val="0"/>
              <c:showSerName val="0"/>
              <c:showPercent val="0"/>
              <c:showBubbleSize val="0"/>
            </c:dLbl>
            <c:dLbl>
              <c:idx val="35"/>
              <c:tx>
                <c:rich>
                  <a:bodyPr/>
                  <a:lstStyle/>
                  <a:p>
                    <a:r>
                      <a:t>286.0</a:t>
                    </a:r>
                  </a:p>
                </c:rich>
              </c:tx>
              <c:showLegendKey val="0"/>
              <c:showVal val="1"/>
              <c:showCatName val="0"/>
              <c:showSerName val="0"/>
              <c:showPercent val="0"/>
              <c:showBubbleSize val="0"/>
            </c:dLbl>
            <c:dLbl>
              <c:idx val="36"/>
              <c:tx>
                <c:rich>
                  <a:bodyPr/>
                  <a:lstStyle/>
                  <a:p>
                    <a:r>
                      <a:t>311.0</a:t>
                    </a:r>
                  </a:p>
                </c:rich>
              </c:tx>
              <c:showLegendKey val="0"/>
              <c:showVal val="1"/>
              <c:showCatName val="0"/>
              <c:showSerName val="0"/>
              <c:showPercent val="0"/>
              <c:showBubbleSize val="0"/>
            </c:dLbl>
            <c:dLbl>
              <c:idx val="37"/>
              <c:tx>
                <c:rich>
                  <a:bodyPr/>
                  <a:lstStyle/>
                  <a:p>
                    <a:r>
                      <a:t>423.9</a:t>
                    </a:r>
                  </a:p>
                </c:rich>
              </c:tx>
              <c:showLegendKey val="0"/>
              <c:showVal val="1"/>
              <c:showCatName val="0"/>
              <c:showSerName val="0"/>
              <c:showPercent val="0"/>
              <c:showBubbleSize val="0"/>
            </c:dLbl>
            <c:dLbl>
              <c:idx val="38"/>
              <c:tx>
                <c:rich>
                  <a:bodyPr/>
                  <a:lstStyle/>
                  <a:p>
                    <a:r>
                      <a:t>278.0</a:t>
                    </a:r>
                  </a:p>
                </c:rich>
              </c:tx>
              <c:showLegendKey val="0"/>
              <c:showVal val="1"/>
              <c:showCatName val="0"/>
              <c:showSerName val="0"/>
              <c:showPercent val="0"/>
              <c:showBubbleSize val="0"/>
            </c:dLbl>
            <c:dLbl>
              <c:idx val="39"/>
              <c:tx>
                <c:rich>
                  <a:bodyPr/>
                  <a:lstStyle/>
                  <a:p>
                    <a:r>
                      <a:t>393.9</a:t>
                    </a:r>
                  </a:p>
                </c:rich>
              </c:tx>
              <c:showLegendKey val="0"/>
              <c:showVal val="1"/>
              <c:showCatName val="0"/>
              <c:showSerName val="0"/>
              <c:showPercent val="0"/>
              <c:showBubbleSize val="0"/>
            </c:dLbl>
            <c:dLbl>
              <c:idx val="40"/>
              <c:tx>
                <c:rich>
                  <a:bodyPr/>
                  <a:lstStyle/>
                  <a:p>
                    <a:r>
                      <a:t>188.0</a:t>
                    </a:r>
                  </a:p>
                </c:rich>
              </c:tx>
              <c:showLegendKey val="0"/>
              <c:showVal val="1"/>
              <c:showCatName val="0"/>
              <c:showSerName val="0"/>
              <c:showPercent val="0"/>
              <c:showBubbleSize val="0"/>
            </c:dLbl>
            <c:dLbl>
              <c:idx val="41"/>
              <c:tx>
                <c:rich>
                  <a:bodyPr/>
                  <a:lstStyle/>
                  <a:p>
                    <a:r>
                      <a:t>326.0</a:t>
                    </a:r>
                  </a:p>
                </c:rich>
              </c:tx>
              <c:showLegendKey val="0"/>
              <c:showVal val="1"/>
              <c:showCatName val="0"/>
              <c:showSerName val="0"/>
              <c:showPercent val="0"/>
              <c:showBubbleSize val="0"/>
            </c:dLbl>
            <c:dLbl>
              <c:idx val="42"/>
              <c:tx>
                <c:rich>
                  <a:bodyPr/>
                  <a:lstStyle/>
                  <a:p>
                    <a:r>
                      <a:t>349.0</a:t>
                    </a:r>
                  </a:p>
                </c:rich>
              </c:tx>
              <c:showLegendKey val="0"/>
              <c:showVal val="1"/>
              <c:showCatName val="0"/>
              <c:showSerName val="0"/>
              <c:showPercent val="0"/>
              <c:showBubbleSize val="0"/>
            </c:dLbl>
            <c:dLbl>
              <c:idx val="43"/>
              <c:tx>
                <c:rich>
                  <a:bodyPr/>
                  <a:lstStyle/>
                  <a:p>
                    <a:r>
                      <a:t>310.0</a:t>
                    </a:r>
                  </a:p>
                </c:rich>
              </c:tx>
              <c:showLegendKey val="0"/>
              <c:showVal val="1"/>
              <c:showCatName val="0"/>
              <c:showSerName val="0"/>
              <c:showPercent val="0"/>
              <c:showBubbleSize val="0"/>
            </c:dLbl>
            <c:dLbl>
              <c:idx val="44"/>
              <c:tx>
                <c:rich>
                  <a:bodyPr/>
                  <a:lstStyle/>
                  <a:p>
                    <a:r>
                      <a:t>36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6</c:f>
              <c:strCache>
                <c:ptCount val="45"/>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Cosmetics Spray Crema 50+ 220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Ultra Sunscreen Adults Sport Roll-On 60+ 75Ml</c:v>
                </c:pt>
                <c:pt idx="14">
                  <c:v>Isdin Isdin Sunscreen Adults Derma Aceite 30 200Ml</c:v>
                </c:pt>
                <c:pt idx="15">
                  <c:v>Isdin Isdin Sunscreen Adults Derma Crema 30 50Ml</c:v>
                </c:pt>
                <c:pt idx="16">
                  <c:v>Isdin Isdin Sunscreen Adults Derma Crema 50 50Ml</c:v>
                </c:pt>
                <c:pt idx="17">
                  <c:v>Isdin Isdin Sunscreen Adults Derma Crema 50+ 50Ml</c:v>
                </c:pt>
                <c:pt idx="18">
                  <c:v>Isdin Isdin Sunscreen Adults Derma Fluido 50+ 50Ml</c:v>
                </c:pt>
                <c:pt idx="19">
                  <c:v>Isdin Isdin Sunscreen Adults Derma Gel 50+ 250Ml</c:v>
                </c:pt>
                <c:pt idx="20">
                  <c:v>Isdin Isdin Sunscreen Adults Derma Liquido 30 - 49 50Ml</c:v>
                </c:pt>
                <c:pt idx="21">
                  <c:v>Isdin Isdin Sunscreen Adults Derma Locion 50+ 200Ml</c:v>
                </c:pt>
                <c:pt idx="22">
                  <c:v>Isdin Isdin Sunscreen Adults Derma Spray Aceite 50 200Ml</c:v>
                </c:pt>
                <c:pt idx="23">
                  <c:v>Isdin Isdin Sunscreen Adults Derma Spray Liquido 50 100Ml</c:v>
                </c:pt>
                <c:pt idx="24">
                  <c:v>Isdin Isdin Sunscreen Adults Derma Stick 50 10Ml</c:v>
                </c:pt>
                <c:pt idx="25">
                  <c:v>Isdin Isdin Sunscreen Baby Derma Fluido 50 50Ml</c:v>
                </c:pt>
                <c:pt idx="26">
                  <c:v>L'Oreal La Roche-Posay Sunscreen Adults Derma Crema 50+ 250Ml</c:v>
                </c:pt>
                <c:pt idx="27">
                  <c:v>L'Oreal La Roche-Posay Sunscreen Adults Derma Crema 50+ 50Ml</c:v>
                </c:pt>
                <c:pt idx="28">
                  <c:v>L'Oreal La Roche-Posay Sunscreen Adults Derma Fluido 50+ 50Ml</c:v>
                </c:pt>
                <c:pt idx="29">
                  <c:v>L'Oreal La Roche-Posay Sunscreen Adults Derma Gel 50+ 50Ml</c:v>
                </c:pt>
                <c:pt idx="30">
                  <c:v>L'Oreal La Roche-Posay Sunscreen Adults Derma Liquido 50+ 50Ml</c:v>
                </c:pt>
                <c:pt idx="31">
                  <c:v>L'Oreal La Roche-Posay Sunscreen Adults Derma Spray Aceite 50 75Ml</c:v>
                </c:pt>
                <c:pt idx="32">
                  <c:v>Beiersdorf Nivea Sunscreen Adults Cosmetics Crema 50 50Ml</c:v>
                </c:pt>
                <c:pt idx="33">
                  <c:v>Beiersdorf Nivea Sunscreen Adults Cosmetics Crema 50+ 200Ml</c:v>
                </c:pt>
                <c:pt idx="34">
                  <c:v>Beiersdorf Nivea Sunscreen Adults Cosmetics Crema 50+ 40Ml</c:v>
                </c:pt>
                <c:pt idx="35">
                  <c:v>Beiersdorf Nivea Sunscreen Adults Cosmetics Crema 50+ 50Ml</c:v>
                </c:pt>
                <c:pt idx="36">
                  <c:v>Beiersdorf Nivea Sunscreen Adults Cosmetics Fluido 50+ 40Ml</c:v>
                </c:pt>
                <c:pt idx="37">
                  <c:v>Beiersdorf Nivea Sunscreen Adults Cosmetics Gel 50+ 200Ml</c:v>
                </c:pt>
                <c:pt idx="38">
                  <c:v>Beiersdorf Nivea Sunscreen Adults Cosmetics Liquido 30 - 49 200Ml</c:v>
                </c:pt>
                <c:pt idx="39">
                  <c:v>Beiersdorf Nivea Sunscreen Adults Cosmetics Liquido 50 200Ml</c:v>
                </c:pt>
                <c:pt idx="40">
                  <c:v>Beiersdorf Nivea Sunscreen Adults Cosmetics Liquido 50+ 125Ml</c:v>
                </c:pt>
                <c:pt idx="41">
                  <c:v>Beiersdorf Nivea Sunscreen Adults Cosmetics Spray Liquido 50 200Ml</c:v>
                </c:pt>
                <c:pt idx="42">
                  <c:v>Beiersdorf Nivea Sunscreen Kids Cosmetics Gel 50+ 150Ml</c:v>
                </c:pt>
                <c:pt idx="43">
                  <c:v>Beiersdorf Nivea Sunscreen Kids Cosmetics Liquido 50+ 200Ml</c:v>
                </c:pt>
                <c:pt idx="44">
                  <c:v>Beiersdorf Nivea Sunscreen Kids Cosmetics Spray Liquido 50+ 200Ml</c:v>
                </c:pt>
              </c:strCache>
            </c:strRef>
          </c:cat>
          <c:val>
            <c:numRef>
              <c:f>Sheet1!$B$2:$B$46</c:f>
              <c:numCache>
                <c:formatCode>General</c:formatCode>
                <c:ptCount val="45"/>
                <c:pt idx="0">
                  <c:v>310.0</c:v>
                </c:pt>
                <c:pt idx="1">
                  <c:v>305.0</c:v>
                </c:pt>
                <c:pt idx="2">
                  <c:v>349.0</c:v>
                </c:pt>
                <c:pt idx="3">
                  <c:v>305.0</c:v>
                </c:pt>
                <c:pt idx="4">
                  <c:v>367.5</c:v>
                </c:pt>
                <c:pt idx="5">
                  <c:v>305.0</c:v>
                </c:pt>
                <c:pt idx="6">
                  <c:v>249.0</c:v>
                </c:pt>
                <c:pt idx="7">
                  <c:v>335.0</c:v>
                </c:pt>
                <c:pt idx="8">
                  <c:v>385.0</c:v>
                </c:pt>
                <c:pt idx="9">
                  <c:v>305.0</c:v>
                </c:pt>
                <c:pt idx="10">
                  <c:v>310.0</c:v>
                </c:pt>
                <c:pt idx="11">
                  <c:v>249.0</c:v>
                </c:pt>
                <c:pt idx="12">
                  <c:v>242.0</c:v>
                </c:pt>
                <c:pt idx="13">
                  <c:v>215.0</c:v>
                </c:pt>
                <c:pt idx="14">
                  <c:v>659.0</c:v>
                </c:pt>
                <c:pt idx="15">
                  <c:v>719.0</c:v>
                </c:pt>
                <c:pt idx="16">
                  <c:v>683.48</c:v>
                </c:pt>
                <c:pt idx="17">
                  <c:v>616.0</c:v>
                </c:pt>
                <c:pt idx="18">
                  <c:v>590.0</c:v>
                </c:pt>
                <c:pt idx="19">
                  <c:v>637.5</c:v>
                </c:pt>
                <c:pt idx="20">
                  <c:v>719.0</c:v>
                </c:pt>
                <c:pt idx="21">
                  <c:v>669.0</c:v>
                </c:pt>
                <c:pt idx="22">
                  <c:v>709.0</c:v>
                </c:pt>
                <c:pt idx="23">
                  <c:v>600.0</c:v>
                </c:pt>
                <c:pt idx="24">
                  <c:v>594.89</c:v>
                </c:pt>
                <c:pt idx="25">
                  <c:v>650.0</c:v>
                </c:pt>
                <c:pt idx="26">
                  <c:v>829.0</c:v>
                </c:pt>
                <c:pt idx="27">
                  <c:v>752.33</c:v>
                </c:pt>
                <c:pt idx="28">
                  <c:v>586.37</c:v>
                </c:pt>
                <c:pt idx="29">
                  <c:v>549.0</c:v>
                </c:pt>
                <c:pt idx="30">
                  <c:v>689.0</c:v>
                </c:pt>
                <c:pt idx="31">
                  <c:v>672.3</c:v>
                </c:pt>
                <c:pt idx="32">
                  <c:v>254.33</c:v>
                </c:pt>
                <c:pt idx="33">
                  <c:v>319.0</c:v>
                </c:pt>
                <c:pt idx="34">
                  <c:v>220.0</c:v>
                </c:pt>
                <c:pt idx="35">
                  <c:v>286.0</c:v>
                </c:pt>
                <c:pt idx="36">
                  <c:v>311.0</c:v>
                </c:pt>
                <c:pt idx="37">
                  <c:v>423.9</c:v>
                </c:pt>
                <c:pt idx="38">
                  <c:v>278.0</c:v>
                </c:pt>
                <c:pt idx="39">
                  <c:v>393.9</c:v>
                </c:pt>
                <c:pt idx="40">
                  <c:v>188.0</c:v>
                </c:pt>
                <c:pt idx="41">
                  <c:v>326.0</c:v>
                </c:pt>
                <c:pt idx="42">
                  <c:v>349.0</c:v>
                </c:pt>
                <c:pt idx="43">
                  <c:v>310.0</c:v>
                </c:pt>
                <c:pt idx="44">
                  <c:v>36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05.0</a:t>
                    </a:r>
                  </a:p>
                </c:rich>
              </c:tx>
              <c:showLegendKey val="0"/>
              <c:showVal val="1"/>
              <c:showCatName val="0"/>
              <c:showSerName val="0"/>
              <c:showPercent val="0"/>
              <c:showBubbleSize val="0"/>
            </c:dLbl>
            <c:dLbl>
              <c:idx val="13"/>
              <c:tx>
                <c:rich>
                  <a:bodyPr/>
                  <a:lstStyle/>
                  <a:p>
                    <a:r>
                      <a:t>350.0</a:t>
                    </a:r>
                  </a:p>
                </c:rich>
              </c:tx>
              <c:showLegendKey val="0"/>
              <c:showVal val="1"/>
              <c:showCatName val="0"/>
              <c:showSerName val="0"/>
              <c:showPercent val="0"/>
              <c:showBubbleSize val="0"/>
            </c:dLbl>
            <c:dLbl>
              <c:idx val="14"/>
              <c:tx>
                <c:rich>
                  <a:bodyPr/>
                  <a:lstStyle/>
                  <a:p>
                    <a:r>
                      <a:t>205.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125.0</a:t>
                    </a:r>
                  </a:p>
                </c:rich>
              </c:tx>
              <c:showLegendKey val="0"/>
              <c:showVal val="1"/>
              <c:showCatName val="0"/>
              <c:showSerName val="0"/>
              <c:showPercent val="0"/>
              <c:showBubbleSize val="0"/>
            </c:dLbl>
            <c:dLbl>
              <c:idx val="17"/>
              <c:tx>
                <c:rich>
                  <a:bodyPr/>
                  <a:lstStyle/>
                  <a:p>
                    <a:r>
                      <a:t>385.0</a:t>
                    </a:r>
                  </a:p>
                </c:rich>
              </c:tx>
              <c:showLegendKey val="0"/>
              <c:showVal val="1"/>
              <c:showCatName val="0"/>
              <c:showSerName val="0"/>
              <c:showPercent val="0"/>
              <c:showBubbleSize val="0"/>
            </c:dLbl>
            <c:dLbl>
              <c:idx val="18"/>
              <c:tx>
                <c:rich>
                  <a:bodyPr/>
                  <a:lstStyle/>
                  <a:p>
                    <a:r>
                      <a:t>299.0</a:t>
                    </a:r>
                  </a:p>
                </c:rich>
              </c:tx>
              <c:showLegendKey val="0"/>
              <c:showVal val="1"/>
              <c:showCatName val="0"/>
              <c:showSerName val="0"/>
              <c:showPercent val="0"/>
              <c:showBubbleSize val="0"/>
            </c:dLbl>
            <c:dLbl>
              <c:idx val="19"/>
              <c:tx>
                <c:rich>
                  <a:bodyPr/>
                  <a:lstStyle/>
                  <a:p>
                    <a:r>
                      <a:t>205.0</a:t>
                    </a:r>
                  </a:p>
                </c:rich>
              </c:tx>
              <c:showLegendKey val="0"/>
              <c:showVal val="1"/>
              <c:showCatName val="0"/>
              <c:showSerName val="0"/>
              <c:showPercent val="0"/>
              <c:showBubbleSize val="0"/>
            </c:dLbl>
            <c:dLbl>
              <c:idx val="2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eauty Care Antioxidant Sunscreen Adults Cosmetics Liquido 50+ 50Ml</c:v>
                </c:pt>
                <c:pt idx="11">
                  <c:v>Edgewell Beauty Care Sensitive Sunscreen Adults Cosmetics Liquido 50+ 50Ml</c:v>
                </c:pt>
                <c:pt idx="12">
                  <c:v>Edgewell Hawaiian Tropic Island Sport Sunscreen Adults Sport Liquido 50 60Ml</c:v>
                </c:pt>
                <c:pt idx="13">
                  <c:v>Edgewell Hawaiian Tropic Other Sunscreen Adults Cosmetics Crema 50+ 240Ml</c:v>
                </c:pt>
                <c:pt idx="14">
                  <c:v>Edgewell Hawaiian Tropic Ozono Sunscreen Adults Cosmetics Liquido 50+ 120Ml</c:v>
                </c:pt>
                <c:pt idx="15">
                  <c:v>Edgewell Hawaiian Tropic Ozono Sunscreen Adults Cosmetics Liquido 50+ 240Ml</c:v>
                </c:pt>
                <c:pt idx="16">
                  <c:v>Edgewell Hawaiian Tropic Ozono Sunscreen Adults Cosmetics Liquido 50+ 90Ml</c:v>
                </c:pt>
                <c:pt idx="17">
                  <c:v>Edgewell Hawaiian Tropic Ozono Sunscreen Adults Cosmetics Spray Liquido 50+ 180Ml</c:v>
                </c:pt>
                <c:pt idx="18">
                  <c:v>Edgewell Hawaiian Tropic Sheer Touch Sunscreen Adults Cosmetics Crema 30 - 49 240Ml</c:v>
                </c:pt>
                <c:pt idx="19">
                  <c:v>Edgewell Hawaiian Tropic Sheer Touch Sunscreen Adults Cosmetics Crema 50 120Ml</c:v>
                </c:pt>
                <c:pt idx="20">
                  <c:v>Edgewell Hawaiian Tropic Sheer Touch Sunscreen Adults Cosmetics Liquido 30 - 49 60Ml</c:v>
                </c:pt>
              </c:strCache>
            </c:strRef>
          </c:cat>
          <c:val>
            <c:numRef>
              <c:f>Sheet1!$B$2:$B$22</c:f>
              <c:numCache>
                <c:formatCode>General</c:formatCode>
                <c:ptCount val="21"/>
                <c:pt idx="0">
                  <c:v>310.0</c:v>
                </c:pt>
                <c:pt idx="1">
                  <c:v>305.0</c:v>
                </c:pt>
                <c:pt idx="2">
                  <c:v>349.0</c:v>
                </c:pt>
                <c:pt idx="3">
                  <c:v>305.0</c:v>
                </c:pt>
                <c:pt idx="4">
                  <c:v>367.5</c:v>
                </c:pt>
                <c:pt idx="5">
                  <c:v>305.0</c:v>
                </c:pt>
                <c:pt idx="6">
                  <c:v>335.0</c:v>
                </c:pt>
                <c:pt idx="7">
                  <c:v>385.0</c:v>
                </c:pt>
                <c:pt idx="8">
                  <c:v>305.0</c:v>
                </c:pt>
                <c:pt idx="9">
                  <c:v>310.0</c:v>
                </c:pt>
                <c:pt idx="10">
                  <c:v>179.0</c:v>
                </c:pt>
                <c:pt idx="11">
                  <c:v>179.0</c:v>
                </c:pt>
                <c:pt idx="12">
                  <c:v>105.0</c:v>
                </c:pt>
                <c:pt idx="13">
                  <c:v>350.0</c:v>
                </c:pt>
                <c:pt idx="14">
                  <c:v>205.0</c:v>
                </c:pt>
                <c:pt idx="15">
                  <c:v>350.0</c:v>
                </c:pt>
                <c:pt idx="16">
                  <c:v>125.0</c:v>
                </c:pt>
                <c:pt idx="17">
                  <c:v>385.0</c:v>
                </c:pt>
                <c:pt idx="18">
                  <c:v>299.0</c:v>
                </c:pt>
                <c:pt idx="19">
                  <c:v>205.0</c:v>
                </c:pt>
                <c:pt idx="2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179.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350.0</a:t>
                    </a:r>
                  </a:p>
                </c:rich>
              </c:tx>
              <c:showLegendKey val="0"/>
              <c:showVal val="1"/>
              <c:showCatName val="0"/>
              <c:showSerName val="0"/>
              <c:showPercent val="0"/>
              <c:showBubbleSize val="0"/>
            </c:dLbl>
            <c:dLbl>
              <c:idx val="8"/>
              <c:tx>
                <c:rich>
                  <a:bodyPr/>
                  <a:lstStyle/>
                  <a:p>
                    <a:r>
                      <a:t>125.0</a:t>
                    </a:r>
                  </a:p>
                </c:rich>
              </c:tx>
              <c:showLegendKey val="0"/>
              <c:showVal val="1"/>
              <c:showCatName val="0"/>
              <c:showSerName val="0"/>
              <c:showPercent val="0"/>
              <c:showBubbleSize val="0"/>
            </c:dLbl>
            <c:dLbl>
              <c:idx val="9"/>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dvanced Protection Sunscreen Adults Cosmetics Liquido 50+ 240Ml</c:v>
                </c:pt>
                <c:pt idx="1">
                  <c:v>Edgewell Banana Boat Aqua Protect Sunscreen Adults Cosmetics Crema 50+ 236Ml</c:v>
                </c:pt>
                <c:pt idx="2">
                  <c:v>Edgewell Banana Boat Aqua Protect Sunscreen Adults Sport Crema 50+ 236Ml</c:v>
                </c:pt>
                <c:pt idx="3">
                  <c:v>Edgewell Banana Boat Banded Pack Banded Pack 2X Sunscreen Multi 50+ 236Ml</c:v>
                </c:pt>
                <c:pt idx="4">
                  <c:v>Edgewell Banana Boat Dry Balance Sunscreen Adults Sport Crema 50+ 180Ml</c:v>
                </c:pt>
                <c:pt idx="5">
                  <c:v>Edgewell Beauty Care Sensitive Sunscreen Adults Cosmetics Liquido 50+ 50Ml</c:v>
                </c:pt>
                <c:pt idx="6">
                  <c:v>Edgewell Hawaiian Tropic Other Sunscreen Adults Cosmetics Crema 50+ 240Ml</c:v>
                </c:pt>
                <c:pt idx="7">
                  <c:v>Edgewell Hawaiian Tropic Ozono Sunscreen Adults Cosmetics Liquido 50+ 240Ml</c:v>
                </c:pt>
                <c:pt idx="8">
                  <c:v>Edgewell Hawaiian Tropic Ozono Sunscreen Adults Cosmetics Liquido 50+ 90Ml</c:v>
                </c:pt>
                <c:pt idx="9">
                  <c:v>Edgewell Hawaiian Tropic Sheer Touch Sunscreen Adults Cosmetics Crema 50 120Ml</c:v>
                </c:pt>
              </c:strCache>
            </c:strRef>
          </c:cat>
          <c:val>
            <c:numRef>
              <c:f>Sheet1!$B$2:$B$11</c:f>
              <c:numCache>
                <c:formatCode>General</c:formatCode>
                <c:ptCount val="10"/>
                <c:pt idx="0">
                  <c:v>310.0</c:v>
                </c:pt>
                <c:pt idx="1">
                  <c:v>305.0</c:v>
                </c:pt>
                <c:pt idx="2">
                  <c:v>305.0</c:v>
                </c:pt>
                <c:pt idx="3">
                  <c:v>305.0</c:v>
                </c:pt>
                <c:pt idx="4">
                  <c:v>335.0</c:v>
                </c:pt>
                <c:pt idx="5">
                  <c:v>179.0</c:v>
                </c:pt>
                <c:pt idx="6">
                  <c:v>350.0</c:v>
                </c:pt>
                <c:pt idx="7">
                  <c:v>350.0</c:v>
                </c:pt>
                <c:pt idx="8">
                  <c:v>125.0</c:v>
                </c:pt>
                <c:pt idx="9">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Tanning Tanning Adults Cosmetics Spray Aceite 0 - 5 237Ml</c:v>
                </c:pt>
                <c:pt idx="1">
                  <c:v>Edgewell Hawaiian Tropic Carrot Tanning Adults Cosmetics Crema 10 - 14 240Ml</c:v>
                </c:pt>
              </c:strCache>
            </c:strRef>
          </c:cat>
          <c:val>
            <c:numRef>
              <c:f>Sheet1!$B$2:$B$3</c:f>
              <c:numCache>
                <c:formatCode>General</c:formatCode>
                <c:ptCount val="2"/>
                <c:pt idx="0">
                  <c:v>279.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49.0</a:t>
                    </a:r>
                  </a:p>
                </c:rich>
              </c:tx>
              <c:showLegendKey val="0"/>
              <c:showVal val="1"/>
              <c:showCatName val="0"/>
              <c:showSerName val="0"/>
              <c:showPercent val="0"/>
              <c:showBubbleSize val="0"/>
            </c:dLbl>
            <c:dLbl>
              <c:idx val="5"/>
              <c:tx>
                <c:rich>
                  <a:bodyPr/>
                  <a:lstStyle/>
                  <a:p>
                    <a:r>
                      <a:t>33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9.0</a:t>
                    </a:r>
                  </a:p>
                </c:rich>
              </c:tx>
              <c:showLegendKey val="0"/>
              <c:showVal val="1"/>
              <c:showCatName val="0"/>
              <c:showSerName val="0"/>
              <c:showPercent val="0"/>
              <c:showBubbleSize val="0"/>
            </c:dLbl>
            <c:dLbl>
              <c:idx val="9"/>
              <c:tx>
                <c:rich>
                  <a:bodyPr/>
                  <a:lstStyle/>
                  <a:p>
                    <a:r>
                      <a:t>215.0</a:t>
                    </a:r>
                  </a:p>
                </c:rich>
              </c:tx>
              <c:showLegendKey val="0"/>
              <c:showVal val="1"/>
              <c:showCatName val="0"/>
              <c:showSerName val="0"/>
              <c:showPercent val="0"/>
              <c:showBubbleSize val="0"/>
            </c:dLbl>
            <c:dLbl>
              <c:idx val="10"/>
              <c:tx>
                <c:rich>
                  <a:bodyPr/>
                  <a:lstStyle/>
                  <a:p>
                    <a:r>
                      <a:t>240.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79.0</a:t>
                    </a:r>
                  </a:p>
                </c:rich>
              </c:tx>
              <c:showLegendKey val="0"/>
              <c:showVal val="1"/>
              <c:showCatName val="0"/>
              <c:showSerName val="0"/>
              <c:showPercent val="0"/>
              <c:showBubbleSize val="0"/>
            </c:dLbl>
            <c:dLbl>
              <c:idx val="13"/>
              <c:tx>
                <c:rich>
                  <a:bodyPr/>
                  <a:lstStyle/>
                  <a:p>
                    <a:r>
                      <a:t>179.0</a:t>
                    </a:r>
                  </a:p>
                </c:rich>
              </c:tx>
              <c:showLegendKey val="0"/>
              <c:showVal val="1"/>
              <c:showCatName val="0"/>
              <c:showSerName val="0"/>
              <c:showPercent val="0"/>
              <c:showBubbleSize val="0"/>
            </c:dLbl>
            <c:dLbl>
              <c:idx val="14"/>
              <c:tx>
                <c:rich>
                  <a:bodyPr/>
                  <a:lstStyle/>
                  <a:p>
                    <a:r>
                      <a:t>105.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205.0</a:t>
                    </a:r>
                  </a:p>
                </c:rich>
              </c:tx>
              <c:showLegendKey val="0"/>
              <c:showVal val="1"/>
              <c:showCatName val="0"/>
              <c:showSerName val="0"/>
              <c:showPercent val="0"/>
              <c:showBubbleSize val="0"/>
            </c:dLbl>
            <c:dLbl>
              <c:idx val="17"/>
              <c:tx>
                <c:rich>
                  <a:bodyPr/>
                  <a:lstStyle/>
                  <a:p>
                    <a:r>
                      <a:t>350.0</a:t>
                    </a:r>
                  </a:p>
                </c:rich>
              </c:tx>
              <c:showLegendKey val="0"/>
              <c:showVal val="1"/>
              <c:showCatName val="0"/>
              <c:showSerName val="0"/>
              <c:showPercent val="0"/>
              <c:showBubbleSize val="0"/>
            </c:dLbl>
            <c:dLbl>
              <c:idx val="18"/>
              <c:tx>
                <c:rich>
                  <a:bodyPr/>
                  <a:lstStyle/>
                  <a:p>
                    <a:r>
                      <a:t>350.0</a:t>
                    </a:r>
                  </a:p>
                </c:rich>
              </c:tx>
              <c:showLegendKey val="0"/>
              <c:showVal val="1"/>
              <c:showCatName val="0"/>
              <c:showSerName val="0"/>
              <c:showPercent val="0"/>
              <c:showBubbleSize val="0"/>
            </c:dLbl>
            <c:dLbl>
              <c:idx val="19"/>
              <c:tx>
                <c:rich>
                  <a:bodyPr/>
                  <a:lstStyle/>
                  <a:p>
                    <a:r>
                      <a:t>125.0</a:t>
                    </a:r>
                  </a:p>
                </c:rich>
              </c:tx>
              <c:showLegendKey val="0"/>
              <c:showVal val="1"/>
              <c:showCatName val="0"/>
              <c:showSerName val="0"/>
              <c:showPercent val="0"/>
              <c:showBubbleSize val="0"/>
            </c:dLbl>
            <c:dLbl>
              <c:idx val="20"/>
              <c:tx>
                <c:rich>
                  <a:bodyPr/>
                  <a:lstStyle/>
                  <a:p>
                    <a:r>
                      <a:t>385.0</a:t>
                    </a:r>
                  </a:p>
                </c:rich>
              </c:tx>
              <c:showLegendKey val="0"/>
              <c:showVal val="1"/>
              <c:showCatName val="0"/>
              <c:showSerName val="0"/>
              <c:showPercent val="0"/>
              <c:showBubbleSize val="0"/>
            </c:dLbl>
            <c:dLbl>
              <c:idx val="21"/>
              <c:tx>
                <c:rich>
                  <a:bodyPr/>
                  <a:lstStyle/>
                  <a:p>
                    <a:r>
                      <a:t>299.0</a:t>
                    </a:r>
                  </a:p>
                </c:rich>
              </c:tx>
              <c:showLegendKey val="0"/>
              <c:showVal val="1"/>
              <c:showCatName val="0"/>
              <c:showSerName val="0"/>
              <c:showPercent val="0"/>
              <c:showBubbleSize val="0"/>
            </c:dLbl>
            <c:dLbl>
              <c:idx val="22"/>
              <c:tx>
                <c:rich>
                  <a:bodyPr/>
                  <a:lstStyle/>
                  <a:p>
                    <a:r>
                      <a:t>205.0</a:t>
                    </a:r>
                  </a:p>
                </c:rich>
              </c:tx>
              <c:showLegendKey val="0"/>
              <c:showVal val="1"/>
              <c:showCatName val="0"/>
              <c:showSerName val="0"/>
              <c:showPercent val="0"/>
              <c:showBubbleSize val="0"/>
            </c:dLbl>
            <c:dLbl>
              <c:idx val="23"/>
              <c:tx>
                <c:rich>
                  <a:bodyPr/>
                  <a:lstStyle/>
                  <a:p>
                    <a:r>
                      <a:t>105.0</a:t>
                    </a:r>
                  </a:p>
                </c:rich>
              </c:tx>
              <c:showLegendKey val="0"/>
              <c:showVal val="1"/>
              <c:showCatName val="0"/>
              <c:showSerName val="0"/>
              <c:showPercent val="0"/>
              <c:showBubbleSize val="0"/>
            </c:dLbl>
            <c:dLbl>
              <c:idx val="24"/>
              <c:tx>
                <c:rich>
                  <a:bodyPr/>
                  <a:lstStyle/>
                  <a:p>
                    <a:r>
                      <a:t>315.0</a:t>
                    </a:r>
                  </a:p>
                </c:rich>
              </c:tx>
              <c:showLegendKey val="0"/>
              <c:showVal val="1"/>
              <c:showCatName val="0"/>
              <c:showSerName val="0"/>
              <c:showPercent val="0"/>
              <c:showBubbleSize val="0"/>
            </c:dLbl>
            <c:dLbl>
              <c:idx val="25"/>
              <c:tx>
                <c:rich>
                  <a:bodyPr/>
                  <a:lstStyle/>
                  <a:p>
                    <a:r>
                      <a:t>819.0</a:t>
                    </a:r>
                  </a:p>
                </c:rich>
              </c:tx>
              <c:showLegendKey val="0"/>
              <c:showVal val="1"/>
              <c:showCatName val="0"/>
              <c:showSerName val="0"/>
              <c:showPercent val="0"/>
              <c:showBubbleSize val="0"/>
            </c:dLbl>
            <c:dLbl>
              <c:idx val="26"/>
              <c:tx>
                <c:rich>
                  <a:bodyPr/>
                  <a:lstStyle/>
                  <a:p>
                    <a:r>
                      <a:t>651.98</a:t>
                    </a:r>
                  </a:p>
                </c:rich>
              </c:tx>
              <c:showLegendKey val="0"/>
              <c:showVal val="1"/>
              <c:showCatName val="0"/>
              <c:showSerName val="0"/>
              <c:showPercent val="0"/>
              <c:showBubbleSize val="0"/>
            </c:dLbl>
            <c:dLbl>
              <c:idx val="27"/>
              <c:tx>
                <c:rich>
                  <a:bodyPr/>
                  <a:lstStyle/>
                  <a:p>
                    <a:r>
                      <a:t>659.0</a:t>
                    </a:r>
                  </a:p>
                </c:rich>
              </c:tx>
              <c:showLegendKey val="0"/>
              <c:showVal val="1"/>
              <c:showCatName val="0"/>
              <c:showSerName val="0"/>
              <c:showPercent val="0"/>
              <c:showBubbleSize val="0"/>
            </c:dLbl>
            <c:dLbl>
              <c:idx val="28"/>
              <c:tx>
                <c:rich>
                  <a:bodyPr/>
                  <a:lstStyle/>
                  <a:p>
                    <a:r>
                      <a:t>699.0</a:t>
                    </a:r>
                  </a:p>
                </c:rich>
              </c:tx>
              <c:showLegendKey val="0"/>
              <c:showVal val="1"/>
              <c:showCatName val="0"/>
              <c:showSerName val="0"/>
              <c:showPercent val="0"/>
              <c:showBubbleSize val="0"/>
            </c:dLbl>
            <c:dLbl>
              <c:idx val="29"/>
              <c:tx>
                <c:rich>
                  <a:bodyPr/>
                  <a:lstStyle/>
                  <a:p>
                    <a:r>
                      <a:t>549.0</a:t>
                    </a:r>
                  </a:p>
                </c:rich>
              </c:tx>
              <c:showLegendKey val="0"/>
              <c:showVal val="1"/>
              <c:showCatName val="0"/>
              <c:showSerName val="0"/>
              <c:showPercent val="0"/>
              <c:showBubbleSize val="0"/>
            </c:dLbl>
            <c:dLbl>
              <c:idx val="30"/>
              <c:tx>
                <c:rich>
                  <a:bodyPr/>
                  <a:lstStyle/>
                  <a:p>
                    <a:r>
                      <a:t>739.0</a:t>
                    </a:r>
                  </a:p>
                </c:rich>
              </c:tx>
              <c:showLegendKey val="0"/>
              <c:showVal val="1"/>
              <c:showCatName val="0"/>
              <c:showSerName val="0"/>
              <c:showPercent val="0"/>
              <c:showBubbleSize val="0"/>
            </c:dLbl>
            <c:dLbl>
              <c:idx val="31"/>
              <c:tx>
                <c:rich>
                  <a:bodyPr/>
                  <a:lstStyle/>
                  <a:p>
                    <a:r>
                      <a:t>829.0</a:t>
                    </a:r>
                  </a:p>
                </c:rich>
              </c:tx>
              <c:showLegendKey val="0"/>
              <c:showVal val="1"/>
              <c:showCatName val="0"/>
              <c:showSerName val="0"/>
              <c:showPercent val="0"/>
              <c:showBubbleSize val="0"/>
            </c:dLbl>
            <c:dLbl>
              <c:idx val="32"/>
              <c:tx>
                <c:rich>
                  <a:bodyPr/>
                  <a:lstStyle/>
                  <a:p>
                    <a:r>
                      <a:t>499.0</a:t>
                    </a:r>
                  </a:p>
                </c:rich>
              </c:tx>
              <c:showLegendKey val="0"/>
              <c:showVal val="1"/>
              <c:showCatName val="0"/>
              <c:showSerName val="0"/>
              <c:showPercent val="0"/>
              <c:showBubbleSize val="0"/>
            </c:dLbl>
            <c:dLbl>
              <c:idx val="33"/>
              <c:tx>
                <c:rich>
                  <a:bodyPr/>
                  <a:lstStyle/>
                  <a:p>
                    <a:r>
                      <a:t>254.33</a:t>
                    </a:r>
                  </a:p>
                </c:rich>
              </c:tx>
              <c:showLegendKey val="0"/>
              <c:showVal val="1"/>
              <c:showCatName val="0"/>
              <c:showSerName val="0"/>
              <c:showPercent val="0"/>
              <c:showBubbleSize val="0"/>
            </c:dLbl>
            <c:dLbl>
              <c:idx val="34"/>
              <c:tx>
                <c:rich>
                  <a:bodyPr/>
                  <a:lstStyle/>
                  <a:p>
                    <a:r>
                      <a:t>319.0</a:t>
                    </a:r>
                  </a:p>
                </c:rich>
              </c:tx>
              <c:showLegendKey val="0"/>
              <c:showVal val="1"/>
              <c:showCatName val="0"/>
              <c:showSerName val="0"/>
              <c:showPercent val="0"/>
              <c:showBubbleSize val="0"/>
            </c:dLbl>
            <c:dLbl>
              <c:idx val="35"/>
              <c:tx>
                <c:rich>
                  <a:bodyPr/>
                  <a:lstStyle/>
                  <a:p>
                    <a:r>
                      <a:t>220.0</a:t>
                    </a:r>
                  </a:p>
                </c:rich>
              </c:tx>
              <c:showLegendKey val="0"/>
              <c:showVal val="1"/>
              <c:showCatName val="0"/>
              <c:showSerName val="0"/>
              <c:showPercent val="0"/>
              <c:showBubbleSize val="0"/>
            </c:dLbl>
            <c:dLbl>
              <c:idx val="36"/>
              <c:tx>
                <c:rich>
                  <a:bodyPr/>
                  <a:lstStyle/>
                  <a:p>
                    <a:r>
                      <a:t>286.0</a:t>
                    </a:r>
                  </a:p>
                </c:rich>
              </c:tx>
              <c:showLegendKey val="0"/>
              <c:showVal val="1"/>
              <c:showCatName val="0"/>
              <c:showSerName val="0"/>
              <c:showPercent val="0"/>
              <c:showBubbleSize val="0"/>
            </c:dLbl>
            <c:dLbl>
              <c:idx val="37"/>
              <c:tx>
                <c:rich>
                  <a:bodyPr/>
                  <a:lstStyle/>
                  <a:p>
                    <a:r>
                      <a:t>311.0</a:t>
                    </a:r>
                  </a:p>
                </c:rich>
              </c:tx>
              <c:showLegendKey val="0"/>
              <c:showVal val="1"/>
              <c:showCatName val="0"/>
              <c:showSerName val="0"/>
              <c:showPercent val="0"/>
              <c:showBubbleSize val="0"/>
            </c:dLbl>
            <c:dLbl>
              <c:idx val="38"/>
              <c:tx>
                <c:rich>
                  <a:bodyPr/>
                  <a:lstStyle/>
                  <a:p>
                    <a:r>
                      <a:t>423.9</a:t>
                    </a:r>
                  </a:p>
                </c:rich>
              </c:tx>
              <c:showLegendKey val="0"/>
              <c:showVal val="1"/>
              <c:showCatName val="0"/>
              <c:showSerName val="0"/>
              <c:showPercent val="0"/>
              <c:showBubbleSize val="0"/>
            </c:dLbl>
            <c:dLbl>
              <c:idx val="39"/>
              <c:tx>
                <c:rich>
                  <a:bodyPr/>
                  <a:lstStyle/>
                  <a:p>
                    <a:r>
                      <a:t>278.0</a:t>
                    </a:r>
                  </a:p>
                </c:rich>
              </c:tx>
              <c:showLegendKey val="0"/>
              <c:showVal val="1"/>
              <c:showCatName val="0"/>
              <c:showSerName val="0"/>
              <c:showPercent val="0"/>
              <c:showBubbleSize val="0"/>
            </c:dLbl>
            <c:dLbl>
              <c:idx val="40"/>
              <c:tx>
                <c:rich>
                  <a:bodyPr/>
                  <a:lstStyle/>
                  <a:p>
                    <a:r>
                      <a:t>393.9</a:t>
                    </a:r>
                  </a:p>
                </c:rich>
              </c:tx>
              <c:showLegendKey val="0"/>
              <c:showVal val="1"/>
              <c:showCatName val="0"/>
              <c:showSerName val="0"/>
              <c:showPercent val="0"/>
              <c:showBubbleSize val="0"/>
            </c:dLbl>
            <c:dLbl>
              <c:idx val="41"/>
              <c:tx>
                <c:rich>
                  <a:bodyPr/>
                  <a:lstStyle/>
                  <a:p>
                    <a:r>
                      <a:t>188.0</a:t>
                    </a:r>
                  </a:p>
                </c:rich>
              </c:tx>
              <c:showLegendKey val="0"/>
              <c:showVal val="1"/>
              <c:showCatName val="0"/>
              <c:showSerName val="0"/>
              <c:showPercent val="0"/>
              <c:showBubbleSize val="0"/>
            </c:dLbl>
            <c:dLbl>
              <c:idx val="42"/>
              <c:tx>
                <c:rich>
                  <a:bodyPr/>
                  <a:lstStyle/>
                  <a:p>
                    <a:r>
                      <a:t>326.0</a:t>
                    </a:r>
                  </a:p>
                </c:rich>
              </c:tx>
              <c:showLegendKey val="0"/>
              <c:showVal val="1"/>
              <c:showCatName val="0"/>
              <c:showSerName val="0"/>
              <c:showPercent val="0"/>
              <c:showBubbleSize val="0"/>
            </c:dLbl>
            <c:dLbl>
              <c:idx val="43"/>
              <c:tx>
                <c:rich>
                  <a:bodyPr/>
                  <a:lstStyle/>
                  <a:p>
                    <a:r>
                      <a:t>659.0</a:t>
                    </a:r>
                  </a:p>
                </c:rich>
              </c:tx>
              <c:showLegendKey val="0"/>
              <c:showVal val="1"/>
              <c:showCatName val="0"/>
              <c:showSerName val="0"/>
              <c:showPercent val="0"/>
              <c:showBubbleSize val="0"/>
            </c:dLbl>
            <c:dLbl>
              <c:idx val="44"/>
              <c:tx>
                <c:rich>
                  <a:bodyPr/>
                  <a:lstStyle/>
                  <a:p>
                    <a:r>
                      <a:t>719.0</a:t>
                    </a:r>
                  </a:p>
                </c:rich>
              </c:tx>
              <c:showLegendKey val="0"/>
              <c:showVal val="1"/>
              <c:showCatName val="0"/>
              <c:showSerName val="0"/>
              <c:showPercent val="0"/>
              <c:showBubbleSize val="0"/>
            </c:dLbl>
            <c:dLbl>
              <c:idx val="45"/>
              <c:tx>
                <c:rich>
                  <a:bodyPr/>
                  <a:lstStyle/>
                  <a:p>
                    <a:r>
                      <a:t>683.48</a:t>
                    </a:r>
                  </a:p>
                </c:rich>
              </c:tx>
              <c:showLegendKey val="0"/>
              <c:showVal val="1"/>
              <c:showCatName val="0"/>
              <c:showSerName val="0"/>
              <c:showPercent val="0"/>
              <c:showBubbleSize val="0"/>
            </c:dLbl>
            <c:dLbl>
              <c:idx val="46"/>
              <c:tx>
                <c:rich>
                  <a:bodyPr/>
                  <a:lstStyle/>
                  <a:p>
                    <a:r>
                      <a:t>616.0</a:t>
                    </a:r>
                  </a:p>
                </c:rich>
              </c:tx>
              <c:showLegendKey val="0"/>
              <c:showVal val="1"/>
              <c:showCatName val="0"/>
              <c:showSerName val="0"/>
              <c:showPercent val="0"/>
              <c:showBubbleSize val="0"/>
            </c:dLbl>
            <c:dLbl>
              <c:idx val="47"/>
              <c:tx>
                <c:rich>
                  <a:bodyPr/>
                  <a:lstStyle/>
                  <a:p>
                    <a:r>
                      <a:t>590.0</a:t>
                    </a:r>
                  </a:p>
                </c:rich>
              </c:tx>
              <c:showLegendKey val="0"/>
              <c:showVal val="1"/>
              <c:showCatName val="0"/>
              <c:showSerName val="0"/>
              <c:showPercent val="0"/>
              <c:showBubbleSize val="0"/>
            </c:dLbl>
            <c:dLbl>
              <c:idx val="48"/>
              <c:tx>
                <c:rich>
                  <a:bodyPr/>
                  <a:lstStyle/>
                  <a:p>
                    <a:r>
                      <a:t>637.5</a:t>
                    </a:r>
                  </a:p>
                </c:rich>
              </c:tx>
              <c:showLegendKey val="0"/>
              <c:showVal val="1"/>
              <c:showCatName val="0"/>
              <c:showSerName val="0"/>
              <c:showPercent val="0"/>
              <c:showBubbleSize val="0"/>
            </c:dLbl>
            <c:dLbl>
              <c:idx val="49"/>
              <c:tx>
                <c:rich>
                  <a:bodyPr/>
                  <a:lstStyle/>
                  <a:p>
                    <a:r>
                      <a:t>719.0</a:t>
                    </a:r>
                  </a:p>
                </c:rich>
              </c:tx>
              <c:showLegendKey val="0"/>
              <c:showVal val="1"/>
              <c:showCatName val="0"/>
              <c:showSerName val="0"/>
              <c:showPercent val="0"/>
              <c:showBubbleSize val="0"/>
            </c:dLbl>
            <c:dLbl>
              <c:idx val="50"/>
              <c:tx>
                <c:rich>
                  <a:bodyPr/>
                  <a:lstStyle/>
                  <a:p>
                    <a:r>
                      <a:t>669.0</a:t>
                    </a:r>
                  </a:p>
                </c:rich>
              </c:tx>
              <c:showLegendKey val="0"/>
              <c:showVal val="1"/>
              <c:showCatName val="0"/>
              <c:showSerName val="0"/>
              <c:showPercent val="0"/>
              <c:showBubbleSize val="0"/>
            </c:dLbl>
            <c:dLbl>
              <c:idx val="51"/>
              <c:tx>
                <c:rich>
                  <a:bodyPr/>
                  <a:lstStyle/>
                  <a:p>
                    <a:r>
                      <a:t>709.0</a:t>
                    </a:r>
                  </a:p>
                </c:rich>
              </c:tx>
              <c:showLegendKey val="0"/>
              <c:showVal val="1"/>
              <c:showCatName val="0"/>
              <c:showSerName val="0"/>
              <c:showPercent val="0"/>
              <c:showBubbleSize val="0"/>
            </c:dLbl>
            <c:dLbl>
              <c:idx val="52"/>
              <c:tx>
                <c:rich>
                  <a:bodyPr/>
                  <a:lstStyle/>
                  <a:p>
                    <a:r>
                      <a:t>600.0</a:t>
                    </a:r>
                  </a:p>
                </c:rich>
              </c:tx>
              <c:showLegendKey val="0"/>
              <c:showVal val="1"/>
              <c:showCatName val="0"/>
              <c:showSerName val="0"/>
              <c:showPercent val="0"/>
              <c:showBubbleSize val="0"/>
            </c:dLbl>
            <c:dLbl>
              <c:idx val="53"/>
              <c:tx>
                <c:rich>
                  <a:bodyPr/>
                  <a:lstStyle/>
                  <a:p>
                    <a:r>
                      <a:t>594.89</a:t>
                    </a:r>
                  </a:p>
                </c:rich>
              </c:tx>
              <c:showLegendKey val="0"/>
              <c:showVal val="1"/>
              <c:showCatName val="0"/>
              <c:showSerName val="0"/>
              <c:showPercent val="0"/>
              <c:showBubbleSize val="0"/>
            </c:dLbl>
            <c:dLbl>
              <c:idx val="54"/>
              <c:tx>
                <c:rich>
                  <a:bodyPr/>
                  <a:lstStyle/>
                  <a:p>
                    <a:r>
                      <a:t>170.0</a:t>
                    </a:r>
                  </a:p>
                </c:rich>
              </c:tx>
              <c:showLegendKey val="0"/>
              <c:showVal val="1"/>
              <c:showCatName val="0"/>
              <c:showSerName val="0"/>
              <c:showPercent val="0"/>
              <c:showBubbleSize val="0"/>
            </c:dLbl>
            <c:dLbl>
              <c:idx val="55"/>
              <c:tx>
                <c:rich>
                  <a:bodyPr/>
                  <a:lstStyle/>
                  <a:p>
                    <a:r>
                      <a:t>220.0</a:t>
                    </a:r>
                  </a:p>
                </c:rich>
              </c:tx>
              <c:showLegendKey val="0"/>
              <c:showVal val="1"/>
              <c:showCatName val="0"/>
              <c:showSerName val="0"/>
              <c:showPercent val="0"/>
              <c:showBubbleSize val="0"/>
            </c:dLbl>
            <c:dLbl>
              <c:idx val="56"/>
              <c:tx>
                <c:rich>
                  <a:bodyPr/>
                  <a:lstStyle/>
                  <a:p>
                    <a:r>
                      <a:t>829.0</a:t>
                    </a:r>
                  </a:p>
                </c:rich>
              </c:tx>
              <c:showLegendKey val="0"/>
              <c:showVal val="1"/>
              <c:showCatName val="0"/>
              <c:showSerName val="0"/>
              <c:showPercent val="0"/>
              <c:showBubbleSize val="0"/>
            </c:dLbl>
            <c:dLbl>
              <c:idx val="57"/>
              <c:tx>
                <c:rich>
                  <a:bodyPr/>
                  <a:lstStyle/>
                  <a:p>
                    <a:r>
                      <a:t>752.33</a:t>
                    </a:r>
                  </a:p>
                </c:rich>
              </c:tx>
              <c:showLegendKey val="0"/>
              <c:showVal val="1"/>
              <c:showCatName val="0"/>
              <c:showSerName val="0"/>
              <c:showPercent val="0"/>
              <c:showBubbleSize val="0"/>
            </c:dLbl>
            <c:dLbl>
              <c:idx val="58"/>
              <c:tx>
                <c:rich>
                  <a:bodyPr/>
                  <a:lstStyle/>
                  <a:p>
                    <a:r>
                      <a:t>586.37</a:t>
                    </a:r>
                  </a:p>
                </c:rich>
              </c:tx>
              <c:showLegendKey val="0"/>
              <c:showVal val="1"/>
              <c:showCatName val="0"/>
              <c:showSerName val="0"/>
              <c:showPercent val="0"/>
              <c:showBubbleSize val="0"/>
            </c:dLbl>
            <c:dLbl>
              <c:idx val="59"/>
              <c:tx>
                <c:rich>
                  <a:bodyPr/>
                  <a:lstStyle/>
                  <a:p>
                    <a:r>
                      <a:t>549.0</a:t>
                    </a:r>
                  </a:p>
                </c:rich>
              </c:tx>
              <c:showLegendKey val="0"/>
              <c:showVal val="1"/>
              <c:showCatName val="0"/>
              <c:showSerName val="0"/>
              <c:showPercent val="0"/>
              <c:showBubbleSize val="0"/>
            </c:dLbl>
            <c:dLbl>
              <c:idx val="60"/>
              <c:tx>
                <c:rich>
                  <a:bodyPr/>
                  <a:lstStyle/>
                  <a:p>
                    <a:r>
                      <a:t>689.0</a:t>
                    </a:r>
                  </a:p>
                </c:rich>
              </c:tx>
              <c:showLegendKey val="0"/>
              <c:showVal val="1"/>
              <c:showCatName val="0"/>
              <c:showSerName val="0"/>
              <c:showPercent val="0"/>
              <c:showBubbleSize val="0"/>
            </c:dLbl>
            <c:dLbl>
              <c:idx val="61"/>
              <c:tx>
                <c:rich>
                  <a:bodyPr/>
                  <a:lstStyle/>
                  <a:p>
                    <a:r>
                      <a:t>672.3</a:t>
                    </a:r>
                  </a:p>
                </c:rich>
              </c:tx>
              <c:showLegendKey val="0"/>
              <c:showVal val="1"/>
              <c:showCatName val="0"/>
              <c:showSerName val="0"/>
              <c:showPercent val="0"/>
              <c:showBubbleSize val="0"/>
            </c:dLbl>
            <c:dLbl>
              <c:idx val="62"/>
              <c:tx>
                <c:rich>
                  <a:bodyPr/>
                  <a:lstStyle/>
                  <a:p>
                    <a:r>
                      <a:t>220.0</a:t>
                    </a:r>
                  </a:p>
                </c:rich>
              </c:tx>
              <c:showLegendKey val="0"/>
              <c:showVal val="1"/>
              <c:showCatName val="0"/>
              <c:showSerName val="0"/>
              <c:showPercent val="0"/>
              <c:showBubbleSize val="0"/>
            </c:dLbl>
            <c:dLbl>
              <c:idx val="63"/>
              <c:tx>
                <c:rich>
                  <a:bodyPr/>
                  <a:lstStyle/>
                  <a:p>
                    <a:r>
                      <a:t>889.0</a:t>
                    </a:r>
                  </a:p>
                </c:rich>
              </c:tx>
              <c:showLegendKey val="0"/>
              <c:showVal val="1"/>
              <c:showCatName val="0"/>
              <c:showSerName val="0"/>
              <c:showPercent val="0"/>
              <c:showBubbleSize val="0"/>
            </c:dLbl>
            <c:dLbl>
              <c:idx val="64"/>
              <c:tx>
                <c:rich>
                  <a:bodyPr/>
                  <a:lstStyle/>
                  <a:p>
                    <a:r>
                      <a:t>752.33</a:t>
                    </a:r>
                  </a:p>
                </c:rich>
              </c:tx>
              <c:showLegendKey val="0"/>
              <c:showVal val="1"/>
              <c:showCatName val="0"/>
              <c:showSerName val="0"/>
              <c:showPercent val="0"/>
              <c:showBubbleSize val="0"/>
            </c:dLbl>
            <c:dLbl>
              <c:idx val="65"/>
              <c:tx>
                <c:rich>
                  <a:bodyPr/>
                  <a:lstStyle/>
                  <a:p>
                    <a:r>
                      <a:t>739.0</a:t>
                    </a:r>
                  </a:p>
                </c:rich>
              </c:tx>
              <c:showLegendKey val="0"/>
              <c:showVal val="1"/>
              <c:showCatName val="0"/>
              <c:showSerName val="0"/>
              <c:showPercent val="0"/>
              <c:showBubbleSize val="0"/>
            </c:dLbl>
            <c:dLbl>
              <c:idx val="66"/>
              <c:tx>
                <c:rich>
                  <a:bodyPr/>
                  <a:lstStyle/>
                  <a:p>
                    <a:r>
                      <a:t>689.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8</c:f>
              <c:strCache>
                <c:ptCount val="67"/>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Cosmetics Spray Crema 50+ 220Ml</c:v>
                </c:pt>
                <c:pt idx="5">
                  <c:v>Edgewell Banana Boat Dry Balance Sunscreen Adults Sport Crema 50+ 180Ml</c:v>
                </c:pt>
                <c:pt idx="6">
                  <c:v>Edgewell Banana Boat Dry Balance Sunscreen Adults Sport Spray Liquido 50 220Ml</c:v>
                </c:pt>
                <c:pt idx="7">
                  <c:v>Edgewell Banana Boat Mineral Sunscreen Adults Cosmetics Locion 50 60Ml</c:v>
                </c:pt>
                <c:pt idx="8">
                  <c:v>Edgewell Banana Boat Mineral Sunscreen Adults Sport Locion 50 180Ml</c:v>
                </c:pt>
                <c:pt idx="9">
                  <c:v>Edgewell Banana Boat Ultra Sunscreen Adults Sport Roll-On 60+ 75Ml</c:v>
                </c:pt>
                <c:pt idx="10">
                  <c:v>Edgewell Beauty Care Antioxidant Sunscreen Adults Cosmetics Liquido 15 - 19 100Ml</c:v>
                </c:pt>
                <c:pt idx="11">
                  <c:v>Edgewell Beauty Care Antioxidant Sunscreen Adults Cosmetics Liquido 50+ 50Ml</c:v>
                </c:pt>
                <c:pt idx="12">
                  <c:v>Edgewell Beauty Care Matte Sunscreen Adults Cosmetics Liquido 30 50Ml</c:v>
                </c:pt>
                <c:pt idx="13">
                  <c:v>Edgewell Beauty Care Sensitive Sunscreen Adults Cosmetics Liquido 50+ 50Ml</c:v>
                </c:pt>
                <c:pt idx="14">
                  <c:v>Edgewell Hawaiian Tropic Island Sport Sunscreen Adults Sport Liquido 50 60Ml</c:v>
                </c:pt>
                <c:pt idx="15">
                  <c:v>Edgewell Hawaiian Tropic Other Sunscreen Adults Cosmetics Crema 50+ 240Ml</c:v>
                </c:pt>
                <c:pt idx="16">
                  <c:v>Edgewell Hawaiian Tropic Ozono Sunscreen Adults Cosmetics Liquido 50+ 120Ml</c:v>
                </c:pt>
                <c:pt idx="17">
                  <c:v>Edgewell Hawaiian Tropic Ozono Sunscreen Adults Cosmetics Liquido 50+ 180Ml</c:v>
                </c:pt>
                <c:pt idx="18">
                  <c:v>Edgewell Hawaiian Tropic Ozono Sunscreen Adults Cosmetics Liquido 50+ 240Ml</c:v>
                </c:pt>
                <c:pt idx="19">
                  <c:v>Edgewell Hawaiian Tropic Ozono Sunscreen Adults Cosmetics Liquido 50+ 90Ml</c:v>
                </c:pt>
                <c:pt idx="20">
                  <c:v>Edgewell Hawaiian Tropic Ozono Sunscreen Adults Cosmetics Spray Liquido 50+ 180Ml</c:v>
                </c:pt>
                <c:pt idx="21">
                  <c:v>Edgewell Hawaiian Tropic Sheer Touch Sunscreen Adults Cosmetics Crema 30 - 49 240Ml</c:v>
                </c:pt>
                <c:pt idx="22">
                  <c:v>Edgewell Hawaiian Tropic Sheer Touch Sunscreen Adults Cosmetics Crema 50 120Ml</c:v>
                </c:pt>
                <c:pt idx="23">
                  <c:v>Edgewell Hawaiian Tropic Sheer Touch Sunscreen Adults Cosmetics Liquido 30 - 49 60Ml</c:v>
                </c:pt>
                <c:pt idx="24">
                  <c:v>Edgewell Hawaiian Tropic Tanning Sunscreen Adults Cosmetics Spray Liquido 15 - 19 220Ml</c:v>
                </c:pt>
                <c:pt idx="25">
                  <c:v>Beiersdorf Eucerin Sunscreen Adults Derma Crema 50+ 200Ml</c:v>
                </c:pt>
                <c:pt idx="26">
                  <c:v>Beiersdorf Eucerin Sunscreen Adults Derma Crema 50+ 50Ml</c:v>
                </c:pt>
                <c:pt idx="27">
                  <c:v>Beiersdorf Eucerin Sunscreen Adults Derma Fluido 50+ 50Ml</c:v>
                </c:pt>
                <c:pt idx="28">
                  <c:v>Beiersdorf Eucerin Sunscreen Adults Derma Gel 50+ 50Ml</c:v>
                </c:pt>
                <c:pt idx="29">
                  <c:v>Beiersdorf Eucerin Sunscreen Adults Derma Liquido 50 150Ml</c:v>
                </c:pt>
                <c:pt idx="30">
                  <c:v>Beiersdorf Eucerin Sunscreen Adults Derma Spray Crema 50 50Ml</c:v>
                </c:pt>
                <c:pt idx="31">
                  <c:v>Beiersdorf Eucerin Sunscreen Adults Derma Spray Liquido 50 200Ml</c:v>
                </c:pt>
                <c:pt idx="32">
                  <c:v>Beiersdorf Eucerin Sunscreen Adults Sunscreen Derma Spray Crema 50/50+ 200Ml</c:v>
                </c:pt>
                <c:pt idx="33">
                  <c:v>Beiersdorf Nivea Sunscreen Adults Cosmetics Crema 50 50Ml</c:v>
                </c:pt>
                <c:pt idx="34">
                  <c:v>Beiersdorf Nivea Sunscreen Adults Cosmetics Crema 50+ 200Ml</c:v>
                </c:pt>
                <c:pt idx="35">
                  <c:v>Beiersdorf Nivea Sunscreen Adults Cosmetics Crema 50+ 40Ml</c:v>
                </c:pt>
                <c:pt idx="36">
                  <c:v>Beiersdorf Nivea Sunscreen Adults Cosmetics Crema 50+ 50Ml</c:v>
                </c:pt>
                <c:pt idx="37">
                  <c:v>Beiersdorf Nivea Sunscreen Adults Cosmetics Fluido 50+ 40Ml</c:v>
                </c:pt>
                <c:pt idx="38">
                  <c:v>Beiersdorf Nivea Sunscreen Adults Cosmetics Gel 50+ 200Ml</c:v>
                </c:pt>
                <c:pt idx="39">
                  <c:v>Beiersdorf Nivea Sunscreen Adults Cosmetics Liquido 30 - 49 200Ml</c:v>
                </c:pt>
                <c:pt idx="40">
                  <c:v>Beiersdorf Nivea Sunscreen Adults Cosmetics Liquido 50 200Ml</c:v>
                </c:pt>
                <c:pt idx="41">
                  <c:v>Beiersdorf Nivea Sunscreen Adults Cosmetics Liquido 50+ 125Ml</c:v>
                </c:pt>
                <c:pt idx="42">
                  <c:v>Beiersdorf Nivea Sunscreen Adults Cosmetics Spray Liquido 50 200Ml</c:v>
                </c:pt>
                <c:pt idx="43">
                  <c:v>Isdin Isdin Sunscreen Adults Derma Aceite 30 200Ml</c:v>
                </c:pt>
                <c:pt idx="44">
                  <c:v>Isdin Isdin Sunscreen Adults Derma Crema 30 50Ml</c:v>
                </c:pt>
                <c:pt idx="45">
                  <c:v>Isdin Isdin Sunscreen Adults Derma Crema 50 50Ml</c:v>
                </c:pt>
                <c:pt idx="46">
                  <c:v>Isdin Isdin Sunscreen Adults Derma Crema 50+ 50Ml</c:v>
                </c:pt>
                <c:pt idx="47">
                  <c:v>Isdin Isdin Sunscreen Adults Derma Fluido 50+ 50Ml</c:v>
                </c:pt>
                <c:pt idx="48">
                  <c:v>Isdin Isdin Sunscreen Adults Derma Gel 50+ 250Ml</c:v>
                </c:pt>
                <c:pt idx="49">
                  <c:v>Isdin Isdin Sunscreen Adults Derma Liquido 30 - 49 50Ml</c:v>
                </c:pt>
                <c:pt idx="50">
                  <c:v>Isdin Isdin Sunscreen Adults Derma Locion 50+ 200Ml</c:v>
                </c:pt>
                <c:pt idx="51">
                  <c:v>Isdin Isdin Sunscreen Adults Derma Spray Aceite 50 200Ml</c:v>
                </c:pt>
                <c:pt idx="52">
                  <c:v>Isdin Isdin Sunscreen Adults Derma Spray Liquido 50 100Ml</c:v>
                </c:pt>
                <c:pt idx="53">
                  <c:v>Isdin Isdin Sunscreen Adults Derma Stick 50 10Ml</c:v>
                </c:pt>
                <c:pt idx="54">
                  <c:v>L'Oreal Garnier Sunscreen Adults Cosmetics Crema 50+ 40Ml</c:v>
                </c:pt>
                <c:pt idx="55">
                  <c:v>L'Oreal Garnier Sunscreen Adults Cosmetics Serum 50+ 40Ml</c:v>
                </c:pt>
                <c:pt idx="56">
                  <c:v>L'Oreal La Roche-Posay Sunscreen Adults Derma Crema 50+ 250Ml</c:v>
                </c:pt>
                <c:pt idx="57">
                  <c:v>L'Oreal La Roche-Posay Sunscreen Adults Derma Crema 50+ 50Ml</c:v>
                </c:pt>
                <c:pt idx="58">
                  <c:v>L'Oreal La Roche-Posay Sunscreen Adults Derma Fluido 50+ 50Ml</c:v>
                </c:pt>
                <c:pt idx="59">
                  <c:v>L'Oreal La Roche-Posay Sunscreen Adults Derma Gel 50+ 50Ml</c:v>
                </c:pt>
                <c:pt idx="60">
                  <c:v>L'Oreal La Roche-Posay Sunscreen Adults Derma Liquido 50+ 50Ml</c:v>
                </c:pt>
                <c:pt idx="61">
                  <c:v>L'Oreal La Roche-Posay Sunscreen Adults Derma Spray Aceite 50 75Ml</c:v>
                </c:pt>
                <c:pt idx="62">
                  <c:v>L'Oreal Loreal Paris Sunscreen Adults Derma Liquido 50+ 40Ml</c:v>
                </c:pt>
                <c:pt idx="63">
                  <c:v>L'Oreal Vichy Sunscreen Adults Derma Crema 50 300Ml</c:v>
                </c:pt>
                <c:pt idx="64">
                  <c:v>L'Oreal Vichy Sunscreen Adults Derma Crema 50 50Ml</c:v>
                </c:pt>
                <c:pt idx="65">
                  <c:v>L'Oreal Vichy Sunscreen Adults Derma Crema 50+ 200Ml</c:v>
                </c:pt>
                <c:pt idx="66">
                  <c:v>L'Oreal Vichy Sunscreen Adults Derma Crema 50+ 40Ml</c:v>
                </c:pt>
              </c:strCache>
            </c:strRef>
          </c:cat>
          <c:val>
            <c:numRef>
              <c:f>Sheet1!$B$2:$B$68</c:f>
              <c:numCache>
                <c:formatCode>General</c:formatCode>
                <c:ptCount val="67"/>
                <c:pt idx="0">
                  <c:v>310.0</c:v>
                </c:pt>
                <c:pt idx="1">
                  <c:v>305.0</c:v>
                </c:pt>
                <c:pt idx="2">
                  <c:v>349.0</c:v>
                </c:pt>
                <c:pt idx="3">
                  <c:v>305.0</c:v>
                </c:pt>
                <c:pt idx="4">
                  <c:v>249.0</c:v>
                </c:pt>
                <c:pt idx="5">
                  <c:v>335.0</c:v>
                </c:pt>
                <c:pt idx="6">
                  <c:v>385.0</c:v>
                </c:pt>
                <c:pt idx="7">
                  <c:v>310.0</c:v>
                </c:pt>
                <c:pt idx="8">
                  <c:v>249.0</c:v>
                </c:pt>
                <c:pt idx="9">
                  <c:v>215.0</c:v>
                </c:pt>
                <c:pt idx="10">
                  <c:v>240.0</c:v>
                </c:pt>
                <c:pt idx="11">
                  <c:v>179.0</c:v>
                </c:pt>
                <c:pt idx="12">
                  <c:v>179.0</c:v>
                </c:pt>
                <c:pt idx="13">
                  <c:v>179.0</c:v>
                </c:pt>
                <c:pt idx="14">
                  <c:v>105.0</c:v>
                </c:pt>
                <c:pt idx="15">
                  <c:v>350.0</c:v>
                </c:pt>
                <c:pt idx="16">
                  <c:v>205.0</c:v>
                </c:pt>
                <c:pt idx="17">
                  <c:v>350.0</c:v>
                </c:pt>
                <c:pt idx="18">
                  <c:v>350.0</c:v>
                </c:pt>
                <c:pt idx="19">
                  <c:v>125.0</c:v>
                </c:pt>
                <c:pt idx="20">
                  <c:v>385.0</c:v>
                </c:pt>
                <c:pt idx="21">
                  <c:v>299.0</c:v>
                </c:pt>
                <c:pt idx="22">
                  <c:v>205.0</c:v>
                </c:pt>
                <c:pt idx="23">
                  <c:v>105.0</c:v>
                </c:pt>
                <c:pt idx="24">
                  <c:v>315.0</c:v>
                </c:pt>
                <c:pt idx="25">
                  <c:v>819.0</c:v>
                </c:pt>
                <c:pt idx="26">
                  <c:v>651.98</c:v>
                </c:pt>
                <c:pt idx="27">
                  <c:v>659.0</c:v>
                </c:pt>
                <c:pt idx="28">
                  <c:v>699.0</c:v>
                </c:pt>
                <c:pt idx="29">
                  <c:v>549.0</c:v>
                </c:pt>
                <c:pt idx="30">
                  <c:v>739.0</c:v>
                </c:pt>
                <c:pt idx="31">
                  <c:v>829.0</c:v>
                </c:pt>
                <c:pt idx="32">
                  <c:v>499.0</c:v>
                </c:pt>
                <c:pt idx="33">
                  <c:v>254.33</c:v>
                </c:pt>
                <c:pt idx="34">
                  <c:v>319.0</c:v>
                </c:pt>
                <c:pt idx="35">
                  <c:v>220.0</c:v>
                </c:pt>
                <c:pt idx="36">
                  <c:v>286.0</c:v>
                </c:pt>
                <c:pt idx="37">
                  <c:v>311.0</c:v>
                </c:pt>
                <c:pt idx="38">
                  <c:v>423.9</c:v>
                </c:pt>
                <c:pt idx="39">
                  <c:v>278.0</c:v>
                </c:pt>
                <c:pt idx="40">
                  <c:v>393.9</c:v>
                </c:pt>
                <c:pt idx="41">
                  <c:v>188.0</c:v>
                </c:pt>
                <c:pt idx="42">
                  <c:v>326.0</c:v>
                </c:pt>
                <c:pt idx="43">
                  <c:v>659.0</c:v>
                </c:pt>
                <c:pt idx="44">
                  <c:v>719.0</c:v>
                </c:pt>
                <c:pt idx="45">
                  <c:v>683.48</c:v>
                </c:pt>
                <c:pt idx="46">
                  <c:v>616.0</c:v>
                </c:pt>
                <c:pt idx="47">
                  <c:v>590.0</c:v>
                </c:pt>
                <c:pt idx="48">
                  <c:v>637.5</c:v>
                </c:pt>
                <c:pt idx="49">
                  <c:v>719.0</c:v>
                </c:pt>
                <c:pt idx="50">
                  <c:v>669.0</c:v>
                </c:pt>
                <c:pt idx="51">
                  <c:v>709.0</c:v>
                </c:pt>
                <c:pt idx="52">
                  <c:v>600.0</c:v>
                </c:pt>
                <c:pt idx="53">
                  <c:v>594.89</c:v>
                </c:pt>
                <c:pt idx="54">
                  <c:v>170.0</c:v>
                </c:pt>
                <c:pt idx="55">
                  <c:v>220.0</c:v>
                </c:pt>
                <c:pt idx="56">
                  <c:v>829.0</c:v>
                </c:pt>
                <c:pt idx="57">
                  <c:v>752.33</c:v>
                </c:pt>
                <c:pt idx="58">
                  <c:v>586.37</c:v>
                </c:pt>
                <c:pt idx="59">
                  <c:v>549.0</c:v>
                </c:pt>
                <c:pt idx="60">
                  <c:v>689.0</c:v>
                </c:pt>
                <c:pt idx="61">
                  <c:v>672.3</c:v>
                </c:pt>
                <c:pt idx="62">
                  <c:v>220.0</c:v>
                </c:pt>
                <c:pt idx="63">
                  <c:v>889.0</c:v>
                </c:pt>
                <c:pt idx="64">
                  <c:v>752.33</c:v>
                </c:pt>
                <c:pt idx="65">
                  <c:v>739.0</c:v>
                </c:pt>
                <c:pt idx="66">
                  <c:v>689.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dLbl>
              <c:idx val="4"/>
              <c:tx>
                <c:rich>
                  <a:bodyPr/>
                  <a:lstStyle/>
                  <a:p>
                    <a:r>
                      <a:t>349.0</a:t>
                    </a:r>
                  </a:p>
                </c:rich>
              </c:tx>
              <c:showLegendKey val="0"/>
              <c:showVal val="1"/>
              <c:showCatName val="0"/>
              <c:showSerName val="0"/>
              <c:showPercent val="0"/>
              <c:showBubbleSize val="0"/>
            </c:dLbl>
            <c:dLbl>
              <c:idx val="5"/>
              <c:tx>
                <c:rich>
                  <a:bodyPr/>
                  <a:lstStyle/>
                  <a:p>
                    <a:r>
                      <a:t>310.0</a:t>
                    </a:r>
                  </a:p>
                </c:rich>
              </c:tx>
              <c:showLegendKey val="0"/>
              <c:showVal val="1"/>
              <c:showCatName val="0"/>
              <c:showSerName val="0"/>
              <c:showPercent val="0"/>
              <c:showBubbleSize val="0"/>
            </c:dLbl>
            <c:dLbl>
              <c:idx val="6"/>
              <c:tx>
                <c:rich>
                  <a:bodyPr/>
                  <a:lstStyle/>
                  <a:p>
                    <a:r>
                      <a:t>365.0</a:t>
                    </a:r>
                  </a:p>
                </c:rich>
              </c:tx>
              <c:showLegendKey val="0"/>
              <c:showVal val="1"/>
              <c:showCatName val="0"/>
              <c:showSerName val="0"/>
              <c:showPercent val="0"/>
              <c:showBubbleSize val="0"/>
            </c:dLbl>
            <c:dLbl>
              <c:idx val="7"/>
              <c:tx>
                <c:rich>
                  <a:bodyPr/>
                  <a:lstStyle/>
                  <a:p>
                    <a:r>
                      <a:t>195.0</a:t>
                    </a:r>
                  </a:p>
                </c:rich>
              </c:tx>
              <c:showLegendKey val="0"/>
              <c:showVal val="1"/>
              <c:showCatName val="0"/>
              <c:showSerName val="0"/>
              <c:showPercent val="0"/>
              <c:showBubbleSize val="0"/>
            </c:dLbl>
            <c:dLbl>
              <c:idx val="8"/>
              <c:tx>
                <c:rich>
                  <a:bodyPr/>
                  <a:lstStyle/>
                  <a:p>
                    <a:r>
                      <a:t>16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pt idx="4">
                  <c:v>Beiersdorf Nivea Sunscreen Kids Cosmetics Gel 50+ 150Ml</c:v>
                </c:pt>
                <c:pt idx="5">
                  <c:v>Beiersdorf Nivea Sunscreen Kids Cosmetics Liquido 50+ 200Ml</c:v>
                </c:pt>
                <c:pt idx="6">
                  <c:v>Beiersdorf Nivea Sunscreen Kids Cosmetics Spray Liquido 50+ 200Ml</c:v>
                </c:pt>
                <c:pt idx="7">
                  <c:v>Others Fabricante Unif. Others Marca Unif. Sunscreen Kids Cosmetics Crema 50 165Ml</c:v>
                </c:pt>
                <c:pt idx="8">
                  <c:v>Others Fabricante Unif. Others Marca Unif. Sunscreen Kids Derma Crema 50+ 125Ml</c:v>
                </c:pt>
              </c:strCache>
            </c:strRef>
          </c:cat>
          <c:val>
            <c:numRef>
              <c:f>Sheet1!$B$2:$B$10</c:f>
              <c:numCache>
                <c:formatCode>General</c:formatCode>
                <c:ptCount val="9"/>
                <c:pt idx="0">
                  <c:v>367.5</c:v>
                </c:pt>
                <c:pt idx="1">
                  <c:v>305.0</c:v>
                </c:pt>
                <c:pt idx="2">
                  <c:v>305.0</c:v>
                </c:pt>
                <c:pt idx="3">
                  <c:v>242.0</c:v>
                </c:pt>
                <c:pt idx="4">
                  <c:v>349.0</c:v>
                </c:pt>
                <c:pt idx="5">
                  <c:v>310.0</c:v>
                </c:pt>
                <c:pt idx="6">
                  <c:v>365.0</c:v>
                </c:pt>
                <c:pt idx="7">
                  <c:v>195.0</c:v>
                </c:pt>
                <c:pt idx="8">
                  <c:v>16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659.0</a:t>
                    </a:r>
                  </a:p>
                </c:rich>
              </c:tx>
              <c:showLegendKey val="0"/>
              <c:showVal val="1"/>
              <c:showCatName val="0"/>
              <c:showSerName val="0"/>
              <c:showPercent val="0"/>
              <c:showBubbleSize val="0"/>
            </c:dLbl>
            <c:dLbl>
              <c:idx val="5"/>
              <c:tx>
                <c:rich>
                  <a:bodyPr/>
                  <a:lstStyle/>
                  <a:p>
                    <a:r>
                      <a:t>719.0</a:t>
                    </a:r>
                  </a:p>
                </c:rich>
              </c:tx>
              <c:showLegendKey val="0"/>
              <c:showVal val="1"/>
              <c:showCatName val="0"/>
              <c:showSerName val="0"/>
              <c:showPercent val="0"/>
              <c:showBubbleSize val="0"/>
            </c:dLbl>
            <c:dLbl>
              <c:idx val="6"/>
              <c:tx>
                <c:rich>
                  <a:bodyPr/>
                  <a:lstStyle/>
                  <a:p>
                    <a:r>
                      <a:t>683.48</a:t>
                    </a:r>
                  </a:p>
                </c:rich>
              </c:tx>
              <c:showLegendKey val="0"/>
              <c:showVal val="1"/>
              <c:showCatName val="0"/>
              <c:showSerName val="0"/>
              <c:showPercent val="0"/>
              <c:showBubbleSize val="0"/>
            </c:dLbl>
            <c:dLbl>
              <c:idx val="7"/>
              <c:tx>
                <c:rich>
                  <a:bodyPr/>
                  <a:lstStyle/>
                  <a:p>
                    <a:r>
                      <a:t>616.0</a:t>
                    </a:r>
                  </a:p>
                </c:rich>
              </c:tx>
              <c:showLegendKey val="0"/>
              <c:showVal val="1"/>
              <c:showCatName val="0"/>
              <c:showSerName val="0"/>
              <c:showPercent val="0"/>
              <c:showBubbleSize val="0"/>
            </c:dLbl>
            <c:dLbl>
              <c:idx val="8"/>
              <c:tx>
                <c:rich>
                  <a:bodyPr/>
                  <a:lstStyle/>
                  <a:p>
                    <a:r>
                      <a:t>590.0</a:t>
                    </a:r>
                  </a:p>
                </c:rich>
              </c:tx>
              <c:showLegendKey val="0"/>
              <c:showVal val="1"/>
              <c:showCatName val="0"/>
              <c:showSerName val="0"/>
              <c:showPercent val="0"/>
              <c:showBubbleSize val="0"/>
            </c:dLbl>
            <c:dLbl>
              <c:idx val="9"/>
              <c:tx>
                <c:rich>
                  <a:bodyPr/>
                  <a:lstStyle/>
                  <a:p>
                    <a:r>
                      <a:t>637.5</a:t>
                    </a:r>
                  </a:p>
                </c:rich>
              </c:tx>
              <c:showLegendKey val="0"/>
              <c:showVal val="1"/>
              <c:showCatName val="0"/>
              <c:showSerName val="0"/>
              <c:showPercent val="0"/>
              <c:showBubbleSize val="0"/>
            </c:dLbl>
            <c:dLbl>
              <c:idx val="10"/>
              <c:tx>
                <c:rich>
                  <a:bodyPr/>
                  <a:lstStyle/>
                  <a:p>
                    <a:r>
                      <a:t>719.0</a:t>
                    </a:r>
                  </a:p>
                </c:rich>
              </c:tx>
              <c:showLegendKey val="0"/>
              <c:showVal val="1"/>
              <c:showCatName val="0"/>
              <c:showSerName val="0"/>
              <c:showPercent val="0"/>
              <c:showBubbleSize val="0"/>
            </c:dLbl>
            <c:dLbl>
              <c:idx val="11"/>
              <c:tx>
                <c:rich>
                  <a:bodyPr/>
                  <a:lstStyle/>
                  <a:p>
                    <a:r>
                      <a:t>669.0</a:t>
                    </a:r>
                  </a:p>
                </c:rich>
              </c:tx>
              <c:showLegendKey val="0"/>
              <c:showVal val="1"/>
              <c:showCatName val="0"/>
              <c:showSerName val="0"/>
              <c:showPercent val="0"/>
              <c:showBubbleSize val="0"/>
            </c:dLbl>
            <c:dLbl>
              <c:idx val="12"/>
              <c:tx>
                <c:rich>
                  <a:bodyPr/>
                  <a:lstStyle/>
                  <a:p>
                    <a:r>
                      <a:t>709.0</a:t>
                    </a:r>
                  </a:p>
                </c:rich>
              </c:tx>
              <c:showLegendKey val="0"/>
              <c:showVal val="1"/>
              <c:showCatName val="0"/>
              <c:showSerName val="0"/>
              <c:showPercent val="0"/>
              <c:showBubbleSize val="0"/>
            </c:dLbl>
            <c:dLbl>
              <c:idx val="13"/>
              <c:tx>
                <c:rich>
                  <a:bodyPr/>
                  <a:lstStyle/>
                  <a:p>
                    <a:r>
                      <a:t>600.0</a:t>
                    </a:r>
                  </a:p>
                </c:rich>
              </c:tx>
              <c:showLegendKey val="0"/>
              <c:showVal val="1"/>
              <c:showCatName val="0"/>
              <c:showSerName val="0"/>
              <c:showPercent val="0"/>
              <c:showBubbleSize val="0"/>
            </c:dLbl>
            <c:dLbl>
              <c:idx val="14"/>
              <c:tx>
                <c:rich>
                  <a:bodyPr/>
                  <a:lstStyle/>
                  <a:p>
                    <a:r>
                      <a:t>594.89</a:t>
                    </a:r>
                  </a:p>
                </c:rich>
              </c:tx>
              <c:showLegendKey val="0"/>
              <c:showVal val="1"/>
              <c:showCatName val="0"/>
              <c:showSerName val="0"/>
              <c:showPercent val="0"/>
              <c:showBubbleSize val="0"/>
            </c:dLbl>
            <c:dLbl>
              <c:idx val="15"/>
              <c:tx>
                <c:rich>
                  <a:bodyPr/>
                  <a:lstStyle/>
                  <a:p>
                    <a:r>
                      <a:t>650.0</a:t>
                    </a:r>
                  </a:p>
                </c:rich>
              </c:tx>
              <c:showLegendKey val="0"/>
              <c:showVal val="1"/>
              <c:showCatName val="0"/>
              <c:showSerName val="0"/>
              <c:showPercent val="0"/>
              <c:showBubbleSize val="0"/>
            </c:dLbl>
            <c:dLbl>
              <c:idx val="16"/>
              <c:tx>
                <c:rich>
                  <a:bodyPr/>
                  <a:lstStyle/>
                  <a:p>
                    <a:r>
                      <a:t>829.0</a:t>
                    </a:r>
                  </a:p>
                </c:rich>
              </c:tx>
              <c:showLegendKey val="0"/>
              <c:showVal val="1"/>
              <c:showCatName val="0"/>
              <c:showSerName val="0"/>
              <c:showPercent val="0"/>
              <c:showBubbleSize val="0"/>
            </c:dLbl>
            <c:dLbl>
              <c:idx val="17"/>
              <c:tx>
                <c:rich>
                  <a:bodyPr/>
                  <a:lstStyle/>
                  <a:p>
                    <a:r>
                      <a:t>752.33</a:t>
                    </a:r>
                  </a:p>
                </c:rich>
              </c:tx>
              <c:showLegendKey val="0"/>
              <c:showVal val="1"/>
              <c:showCatName val="0"/>
              <c:showSerName val="0"/>
              <c:showPercent val="0"/>
              <c:showBubbleSize val="0"/>
            </c:dLbl>
            <c:dLbl>
              <c:idx val="18"/>
              <c:tx>
                <c:rich>
                  <a:bodyPr/>
                  <a:lstStyle/>
                  <a:p>
                    <a:r>
                      <a:t>586.37</a:t>
                    </a:r>
                  </a:p>
                </c:rich>
              </c:tx>
              <c:showLegendKey val="0"/>
              <c:showVal val="1"/>
              <c:showCatName val="0"/>
              <c:showSerName val="0"/>
              <c:showPercent val="0"/>
              <c:showBubbleSize val="0"/>
            </c:dLbl>
            <c:dLbl>
              <c:idx val="19"/>
              <c:tx>
                <c:rich>
                  <a:bodyPr/>
                  <a:lstStyle/>
                  <a:p>
                    <a:r>
                      <a:t>549.0</a:t>
                    </a:r>
                  </a:p>
                </c:rich>
              </c:tx>
              <c:showLegendKey val="0"/>
              <c:showVal val="1"/>
              <c:showCatName val="0"/>
              <c:showSerName val="0"/>
              <c:showPercent val="0"/>
              <c:showBubbleSize val="0"/>
            </c:dLbl>
            <c:dLbl>
              <c:idx val="20"/>
              <c:tx>
                <c:rich>
                  <a:bodyPr/>
                  <a:lstStyle/>
                  <a:p>
                    <a:r>
                      <a:t>689.0</a:t>
                    </a:r>
                  </a:p>
                </c:rich>
              </c:tx>
              <c:showLegendKey val="0"/>
              <c:showVal val="1"/>
              <c:showCatName val="0"/>
              <c:showSerName val="0"/>
              <c:showPercent val="0"/>
              <c:showBubbleSize val="0"/>
            </c:dLbl>
            <c:dLbl>
              <c:idx val="21"/>
              <c:tx>
                <c:rich>
                  <a:bodyPr/>
                  <a:lstStyle/>
                  <a:p>
                    <a:r>
                      <a:t>672.3</a:t>
                    </a:r>
                  </a:p>
                </c:rich>
              </c:tx>
              <c:showLegendKey val="0"/>
              <c:showVal val="1"/>
              <c:showCatName val="0"/>
              <c:showSerName val="0"/>
              <c:showPercent val="0"/>
              <c:showBubbleSize val="0"/>
            </c:dLbl>
            <c:dLbl>
              <c:idx val="22"/>
              <c:tx>
                <c:rich>
                  <a:bodyPr/>
                  <a:lstStyle/>
                  <a:p>
                    <a:r>
                      <a:t>254.33</a:t>
                    </a:r>
                  </a:p>
                </c:rich>
              </c:tx>
              <c:showLegendKey val="0"/>
              <c:showVal val="1"/>
              <c:showCatName val="0"/>
              <c:showSerName val="0"/>
              <c:showPercent val="0"/>
              <c:showBubbleSize val="0"/>
            </c:dLbl>
            <c:dLbl>
              <c:idx val="23"/>
              <c:tx>
                <c:rich>
                  <a:bodyPr/>
                  <a:lstStyle/>
                  <a:p>
                    <a:r>
                      <a:t>319.0</a:t>
                    </a:r>
                  </a:p>
                </c:rich>
              </c:tx>
              <c:showLegendKey val="0"/>
              <c:showVal val="1"/>
              <c:showCatName val="0"/>
              <c:showSerName val="0"/>
              <c:showPercent val="0"/>
              <c:showBubbleSize val="0"/>
            </c:dLbl>
            <c:dLbl>
              <c:idx val="24"/>
              <c:tx>
                <c:rich>
                  <a:bodyPr/>
                  <a:lstStyle/>
                  <a:p>
                    <a:r>
                      <a:t>220.0</a:t>
                    </a:r>
                  </a:p>
                </c:rich>
              </c:tx>
              <c:showLegendKey val="0"/>
              <c:showVal val="1"/>
              <c:showCatName val="0"/>
              <c:showSerName val="0"/>
              <c:showPercent val="0"/>
              <c:showBubbleSize val="0"/>
            </c:dLbl>
            <c:dLbl>
              <c:idx val="25"/>
              <c:tx>
                <c:rich>
                  <a:bodyPr/>
                  <a:lstStyle/>
                  <a:p>
                    <a:r>
                      <a:t>286.0</a:t>
                    </a:r>
                  </a:p>
                </c:rich>
              </c:tx>
              <c:showLegendKey val="0"/>
              <c:showVal val="1"/>
              <c:showCatName val="0"/>
              <c:showSerName val="0"/>
              <c:showPercent val="0"/>
              <c:showBubbleSize val="0"/>
            </c:dLbl>
            <c:dLbl>
              <c:idx val="26"/>
              <c:tx>
                <c:rich>
                  <a:bodyPr/>
                  <a:lstStyle/>
                  <a:p>
                    <a:r>
                      <a:t>311.0</a:t>
                    </a:r>
                  </a:p>
                </c:rich>
              </c:tx>
              <c:showLegendKey val="0"/>
              <c:showVal val="1"/>
              <c:showCatName val="0"/>
              <c:showSerName val="0"/>
              <c:showPercent val="0"/>
              <c:showBubbleSize val="0"/>
            </c:dLbl>
            <c:dLbl>
              <c:idx val="27"/>
              <c:tx>
                <c:rich>
                  <a:bodyPr/>
                  <a:lstStyle/>
                  <a:p>
                    <a:r>
                      <a:t>423.9</a:t>
                    </a:r>
                  </a:p>
                </c:rich>
              </c:tx>
              <c:showLegendKey val="0"/>
              <c:showVal val="1"/>
              <c:showCatName val="0"/>
              <c:showSerName val="0"/>
              <c:showPercent val="0"/>
              <c:showBubbleSize val="0"/>
            </c:dLbl>
            <c:dLbl>
              <c:idx val="28"/>
              <c:tx>
                <c:rich>
                  <a:bodyPr/>
                  <a:lstStyle/>
                  <a:p>
                    <a:r>
                      <a:t>278.0</a:t>
                    </a:r>
                  </a:p>
                </c:rich>
              </c:tx>
              <c:showLegendKey val="0"/>
              <c:showVal val="1"/>
              <c:showCatName val="0"/>
              <c:showSerName val="0"/>
              <c:showPercent val="0"/>
              <c:showBubbleSize val="0"/>
            </c:dLbl>
            <c:dLbl>
              <c:idx val="29"/>
              <c:tx>
                <c:rich>
                  <a:bodyPr/>
                  <a:lstStyle/>
                  <a:p>
                    <a:r>
                      <a:t>393.9</a:t>
                    </a:r>
                  </a:p>
                </c:rich>
              </c:tx>
              <c:showLegendKey val="0"/>
              <c:showVal val="1"/>
              <c:showCatName val="0"/>
              <c:showSerName val="0"/>
              <c:showPercent val="0"/>
              <c:showBubbleSize val="0"/>
            </c:dLbl>
            <c:dLbl>
              <c:idx val="30"/>
              <c:tx>
                <c:rich>
                  <a:bodyPr/>
                  <a:lstStyle/>
                  <a:p>
                    <a:r>
                      <a:t>188.0</a:t>
                    </a:r>
                  </a:p>
                </c:rich>
              </c:tx>
              <c:showLegendKey val="0"/>
              <c:showVal val="1"/>
              <c:showCatName val="0"/>
              <c:showSerName val="0"/>
              <c:showPercent val="0"/>
              <c:showBubbleSize val="0"/>
            </c:dLbl>
            <c:dLbl>
              <c:idx val="31"/>
              <c:tx>
                <c:rich>
                  <a:bodyPr/>
                  <a:lstStyle/>
                  <a:p>
                    <a:r>
                      <a:t>326.0</a:t>
                    </a:r>
                  </a:p>
                </c:rich>
              </c:tx>
              <c:showLegendKey val="0"/>
              <c:showVal val="1"/>
              <c:showCatName val="0"/>
              <c:showSerName val="0"/>
              <c:showPercent val="0"/>
              <c:showBubbleSize val="0"/>
            </c:dLbl>
            <c:dLbl>
              <c:idx val="32"/>
              <c:tx>
                <c:rich>
                  <a:bodyPr/>
                  <a:lstStyle/>
                  <a:p>
                    <a:r>
                      <a:t>349.0</a:t>
                    </a:r>
                  </a:p>
                </c:rich>
              </c:tx>
              <c:showLegendKey val="0"/>
              <c:showVal val="1"/>
              <c:showCatName val="0"/>
              <c:showSerName val="0"/>
              <c:showPercent val="0"/>
              <c:showBubbleSize val="0"/>
            </c:dLbl>
            <c:dLbl>
              <c:idx val="33"/>
              <c:tx>
                <c:rich>
                  <a:bodyPr/>
                  <a:lstStyle/>
                  <a:p>
                    <a:r>
                      <a:t>310.0</a:t>
                    </a:r>
                  </a:p>
                </c:rich>
              </c:tx>
              <c:showLegendKey val="0"/>
              <c:showVal val="1"/>
              <c:showCatName val="0"/>
              <c:showSerName val="0"/>
              <c:showPercent val="0"/>
              <c:showBubbleSize val="0"/>
            </c:dLbl>
            <c:dLbl>
              <c:idx val="34"/>
              <c:tx>
                <c:rich>
                  <a:bodyPr/>
                  <a:lstStyle/>
                  <a:p>
                    <a:r>
                      <a:t>36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6</c:f>
              <c:strCache>
                <c:ptCount val="35"/>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pt idx="4">
                  <c:v>Isdin Isdin Sunscreen Adults Derma Aceite 30 200Ml</c:v>
                </c:pt>
                <c:pt idx="5">
                  <c:v>Isdin Isdin Sunscreen Adults Derma Crema 30 50Ml</c:v>
                </c:pt>
                <c:pt idx="6">
                  <c:v>Isdin Isdin Sunscreen Adults Derma Crema 50 50Ml</c:v>
                </c:pt>
                <c:pt idx="7">
                  <c:v>Isdin Isdin Sunscreen Adults Derma Crema 50+ 50Ml</c:v>
                </c:pt>
                <c:pt idx="8">
                  <c:v>Isdin Isdin Sunscreen Adults Derma Fluido 50+ 50Ml</c:v>
                </c:pt>
                <c:pt idx="9">
                  <c:v>Isdin Isdin Sunscreen Adults Derma Gel 50+ 250Ml</c:v>
                </c:pt>
                <c:pt idx="10">
                  <c:v>Isdin Isdin Sunscreen Adults Derma Liquido 30 - 49 50Ml</c:v>
                </c:pt>
                <c:pt idx="11">
                  <c:v>Isdin Isdin Sunscreen Adults Derma Locion 50+ 200Ml</c:v>
                </c:pt>
                <c:pt idx="12">
                  <c:v>Isdin Isdin Sunscreen Adults Derma Spray Aceite 50 200Ml</c:v>
                </c:pt>
                <c:pt idx="13">
                  <c:v>Isdin Isdin Sunscreen Adults Derma Spray Liquido 50 100Ml</c:v>
                </c:pt>
                <c:pt idx="14">
                  <c:v>Isdin Isdin Sunscreen Adults Derma Stick 50 10Ml</c:v>
                </c:pt>
                <c:pt idx="15">
                  <c:v>Isdin Isdin Sunscreen Baby Derma Fluido 50 50Ml</c:v>
                </c:pt>
                <c:pt idx="16">
                  <c:v>L'Oreal La Roche-Posay Sunscreen Adults Derma Crema 50+ 250Ml</c:v>
                </c:pt>
                <c:pt idx="17">
                  <c:v>L'Oreal La Roche-Posay Sunscreen Adults Derma Crema 50+ 50Ml</c:v>
                </c:pt>
                <c:pt idx="18">
                  <c:v>L'Oreal La Roche-Posay Sunscreen Adults Derma Fluido 50+ 50Ml</c:v>
                </c:pt>
                <c:pt idx="19">
                  <c:v>L'Oreal La Roche-Posay Sunscreen Adults Derma Gel 50+ 50Ml</c:v>
                </c:pt>
                <c:pt idx="20">
                  <c:v>L'Oreal La Roche-Posay Sunscreen Adults Derma Liquido 50+ 50Ml</c:v>
                </c:pt>
                <c:pt idx="21">
                  <c:v>L'Oreal La Roche-Posay Sunscreen Adults Derma Spray Aceite 50 75Ml</c:v>
                </c:pt>
                <c:pt idx="22">
                  <c:v>Beiersdorf Nivea Sunscreen Adults Cosmetics Crema 50 50Ml</c:v>
                </c:pt>
                <c:pt idx="23">
                  <c:v>Beiersdorf Nivea Sunscreen Adults Cosmetics Crema 50+ 200Ml</c:v>
                </c:pt>
                <c:pt idx="24">
                  <c:v>Beiersdorf Nivea Sunscreen Adults Cosmetics Crema 50+ 40Ml</c:v>
                </c:pt>
                <c:pt idx="25">
                  <c:v>Beiersdorf Nivea Sunscreen Adults Cosmetics Crema 50+ 50Ml</c:v>
                </c:pt>
                <c:pt idx="26">
                  <c:v>Beiersdorf Nivea Sunscreen Adults Cosmetics Fluido 50+ 40Ml</c:v>
                </c:pt>
                <c:pt idx="27">
                  <c:v>Beiersdorf Nivea Sunscreen Adults Cosmetics Gel 50+ 200Ml</c:v>
                </c:pt>
                <c:pt idx="28">
                  <c:v>Beiersdorf Nivea Sunscreen Adults Cosmetics Liquido 30 - 49 200Ml</c:v>
                </c:pt>
                <c:pt idx="29">
                  <c:v>Beiersdorf Nivea Sunscreen Adults Cosmetics Liquido 50 200Ml</c:v>
                </c:pt>
                <c:pt idx="30">
                  <c:v>Beiersdorf Nivea Sunscreen Adults Cosmetics Liquido 50+ 125Ml</c:v>
                </c:pt>
                <c:pt idx="31">
                  <c:v>Beiersdorf Nivea Sunscreen Adults Cosmetics Spray Liquido 50 200Ml</c:v>
                </c:pt>
                <c:pt idx="32">
                  <c:v>Beiersdorf Nivea Sunscreen Kids Cosmetics Gel 50+ 150Ml</c:v>
                </c:pt>
                <c:pt idx="33">
                  <c:v>Beiersdorf Nivea Sunscreen Kids Cosmetics Liquido 50+ 200Ml</c:v>
                </c:pt>
                <c:pt idx="34">
                  <c:v>Beiersdorf Nivea Sunscreen Kids Cosmetics Spray Liquido 50+ 200Ml</c:v>
                </c:pt>
              </c:strCache>
            </c:strRef>
          </c:cat>
          <c:val>
            <c:numRef>
              <c:f>Sheet1!$B$2:$B$36</c:f>
              <c:numCache>
                <c:formatCode>General</c:formatCode>
                <c:ptCount val="35"/>
                <c:pt idx="0">
                  <c:v>240.0</c:v>
                </c:pt>
                <c:pt idx="1">
                  <c:v>179.0</c:v>
                </c:pt>
                <c:pt idx="2">
                  <c:v>179.0</c:v>
                </c:pt>
                <c:pt idx="3">
                  <c:v>179.0</c:v>
                </c:pt>
                <c:pt idx="4">
                  <c:v>659.0</c:v>
                </c:pt>
                <c:pt idx="5">
                  <c:v>719.0</c:v>
                </c:pt>
                <c:pt idx="6">
                  <c:v>683.48</c:v>
                </c:pt>
                <c:pt idx="7">
                  <c:v>616.0</c:v>
                </c:pt>
                <c:pt idx="8">
                  <c:v>590.0</c:v>
                </c:pt>
                <c:pt idx="9">
                  <c:v>637.5</c:v>
                </c:pt>
                <c:pt idx="10">
                  <c:v>719.0</c:v>
                </c:pt>
                <c:pt idx="11">
                  <c:v>669.0</c:v>
                </c:pt>
                <c:pt idx="12">
                  <c:v>709.0</c:v>
                </c:pt>
                <c:pt idx="13">
                  <c:v>600.0</c:v>
                </c:pt>
                <c:pt idx="14">
                  <c:v>594.89</c:v>
                </c:pt>
                <c:pt idx="15">
                  <c:v>650.0</c:v>
                </c:pt>
                <c:pt idx="16">
                  <c:v>829.0</c:v>
                </c:pt>
                <c:pt idx="17">
                  <c:v>752.33</c:v>
                </c:pt>
                <c:pt idx="18">
                  <c:v>586.37</c:v>
                </c:pt>
                <c:pt idx="19">
                  <c:v>549.0</c:v>
                </c:pt>
                <c:pt idx="20">
                  <c:v>689.0</c:v>
                </c:pt>
                <c:pt idx="21">
                  <c:v>672.3</c:v>
                </c:pt>
                <c:pt idx="22">
                  <c:v>254.33</c:v>
                </c:pt>
                <c:pt idx="23">
                  <c:v>319.0</c:v>
                </c:pt>
                <c:pt idx="24">
                  <c:v>220.0</c:v>
                </c:pt>
                <c:pt idx="25">
                  <c:v>286.0</c:v>
                </c:pt>
                <c:pt idx="26">
                  <c:v>311.0</c:v>
                </c:pt>
                <c:pt idx="27">
                  <c:v>423.9</c:v>
                </c:pt>
                <c:pt idx="28">
                  <c:v>278.0</c:v>
                </c:pt>
                <c:pt idx="29">
                  <c:v>393.9</c:v>
                </c:pt>
                <c:pt idx="30">
                  <c:v>188.0</c:v>
                </c:pt>
                <c:pt idx="31">
                  <c:v>326.0</c:v>
                </c:pt>
                <c:pt idx="32">
                  <c:v>349.0</c:v>
                </c:pt>
                <c:pt idx="33">
                  <c:v>310.0</c:v>
                </c:pt>
                <c:pt idx="34">
                  <c:v>36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49.0</a:t>
                    </a:r>
                  </a:p>
                </c:rich>
              </c:tx>
              <c:showLegendKey val="0"/>
              <c:showVal val="1"/>
              <c:showCatName val="0"/>
              <c:showSerName val="0"/>
              <c:showPercent val="0"/>
              <c:showBubbleSize val="0"/>
            </c:dLbl>
            <c:dLbl>
              <c:idx val="5"/>
              <c:tx>
                <c:rich>
                  <a:bodyPr/>
                  <a:lstStyle/>
                  <a:p>
                    <a:r>
                      <a:t>33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9.0</a:t>
                    </a:r>
                  </a:p>
                </c:rich>
              </c:tx>
              <c:showLegendKey val="0"/>
              <c:showVal val="1"/>
              <c:showCatName val="0"/>
              <c:showSerName val="0"/>
              <c:showPercent val="0"/>
              <c:showBubbleSize val="0"/>
            </c:dLbl>
            <c:dLbl>
              <c:idx val="9"/>
              <c:tx>
                <c:rich>
                  <a:bodyPr/>
                  <a:lstStyle/>
                  <a:p>
                    <a:r>
                      <a:t>215.0</a:t>
                    </a:r>
                  </a:p>
                </c:rich>
              </c:tx>
              <c:showLegendKey val="0"/>
              <c:showVal val="1"/>
              <c:showCatName val="0"/>
              <c:showSerName val="0"/>
              <c:showPercent val="0"/>
              <c:showBubbleSize val="0"/>
            </c:dLbl>
            <c:dLbl>
              <c:idx val="10"/>
              <c:tx>
                <c:rich>
                  <a:bodyPr/>
                  <a:lstStyle/>
                  <a:p>
                    <a:r>
                      <a:t>240.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79.0</a:t>
                    </a:r>
                  </a:p>
                </c:rich>
              </c:tx>
              <c:showLegendKey val="0"/>
              <c:showVal val="1"/>
              <c:showCatName val="0"/>
              <c:showSerName val="0"/>
              <c:showPercent val="0"/>
              <c:showBubbleSize val="0"/>
            </c:dLbl>
            <c:dLbl>
              <c:idx val="13"/>
              <c:tx>
                <c:rich>
                  <a:bodyPr/>
                  <a:lstStyle/>
                  <a:p>
                    <a:r>
                      <a:t>179.0</a:t>
                    </a:r>
                  </a:p>
                </c:rich>
              </c:tx>
              <c:showLegendKey val="0"/>
              <c:showVal val="1"/>
              <c:showCatName val="0"/>
              <c:showSerName val="0"/>
              <c:showPercent val="0"/>
              <c:showBubbleSize val="0"/>
            </c:dLbl>
            <c:dLbl>
              <c:idx val="14"/>
              <c:tx>
                <c:rich>
                  <a:bodyPr/>
                  <a:lstStyle/>
                  <a:p>
                    <a:r>
                      <a:t>105.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205.0</a:t>
                    </a:r>
                  </a:p>
                </c:rich>
              </c:tx>
              <c:showLegendKey val="0"/>
              <c:showVal val="1"/>
              <c:showCatName val="0"/>
              <c:showSerName val="0"/>
              <c:showPercent val="0"/>
              <c:showBubbleSize val="0"/>
            </c:dLbl>
            <c:dLbl>
              <c:idx val="17"/>
              <c:tx>
                <c:rich>
                  <a:bodyPr/>
                  <a:lstStyle/>
                  <a:p>
                    <a:r>
                      <a:t>350.0</a:t>
                    </a:r>
                  </a:p>
                </c:rich>
              </c:tx>
              <c:showLegendKey val="0"/>
              <c:showVal val="1"/>
              <c:showCatName val="0"/>
              <c:showSerName val="0"/>
              <c:showPercent val="0"/>
              <c:showBubbleSize val="0"/>
            </c:dLbl>
            <c:dLbl>
              <c:idx val="18"/>
              <c:tx>
                <c:rich>
                  <a:bodyPr/>
                  <a:lstStyle/>
                  <a:p>
                    <a:r>
                      <a:t>350.0</a:t>
                    </a:r>
                  </a:p>
                </c:rich>
              </c:tx>
              <c:showLegendKey val="0"/>
              <c:showVal val="1"/>
              <c:showCatName val="0"/>
              <c:showSerName val="0"/>
              <c:showPercent val="0"/>
              <c:showBubbleSize val="0"/>
            </c:dLbl>
            <c:dLbl>
              <c:idx val="19"/>
              <c:tx>
                <c:rich>
                  <a:bodyPr/>
                  <a:lstStyle/>
                  <a:p>
                    <a:r>
                      <a:t>125.0</a:t>
                    </a:r>
                  </a:p>
                </c:rich>
              </c:tx>
              <c:showLegendKey val="0"/>
              <c:showVal val="1"/>
              <c:showCatName val="0"/>
              <c:showSerName val="0"/>
              <c:showPercent val="0"/>
              <c:showBubbleSize val="0"/>
            </c:dLbl>
            <c:dLbl>
              <c:idx val="20"/>
              <c:tx>
                <c:rich>
                  <a:bodyPr/>
                  <a:lstStyle/>
                  <a:p>
                    <a:r>
                      <a:t>385.0</a:t>
                    </a:r>
                  </a:p>
                </c:rich>
              </c:tx>
              <c:showLegendKey val="0"/>
              <c:showVal val="1"/>
              <c:showCatName val="0"/>
              <c:showSerName val="0"/>
              <c:showPercent val="0"/>
              <c:showBubbleSize val="0"/>
            </c:dLbl>
            <c:dLbl>
              <c:idx val="21"/>
              <c:tx>
                <c:rich>
                  <a:bodyPr/>
                  <a:lstStyle/>
                  <a:p>
                    <a:r>
                      <a:t>299.0</a:t>
                    </a:r>
                  </a:p>
                </c:rich>
              </c:tx>
              <c:showLegendKey val="0"/>
              <c:showVal val="1"/>
              <c:showCatName val="0"/>
              <c:showSerName val="0"/>
              <c:showPercent val="0"/>
              <c:showBubbleSize val="0"/>
            </c:dLbl>
            <c:dLbl>
              <c:idx val="22"/>
              <c:tx>
                <c:rich>
                  <a:bodyPr/>
                  <a:lstStyle/>
                  <a:p>
                    <a:r>
                      <a:t>205.0</a:t>
                    </a:r>
                  </a:p>
                </c:rich>
              </c:tx>
              <c:showLegendKey val="0"/>
              <c:showVal val="1"/>
              <c:showCatName val="0"/>
              <c:showSerName val="0"/>
              <c:showPercent val="0"/>
              <c:showBubbleSize val="0"/>
            </c:dLbl>
            <c:dLbl>
              <c:idx val="23"/>
              <c:tx>
                <c:rich>
                  <a:bodyPr/>
                  <a:lstStyle/>
                  <a:p>
                    <a:r>
                      <a:t>105.0</a:t>
                    </a:r>
                  </a:p>
                </c:rich>
              </c:tx>
              <c:showLegendKey val="0"/>
              <c:showVal val="1"/>
              <c:showCatName val="0"/>
              <c:showSerName val="0"/>
              <c:showPercent val="0"/>
              <c:showBubbleSize val="0"/>
            </c:dLbl>
            <c:dLbl>
              <c:idx val="24"/>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6</c:f>
              <c:strCache>
                <c:ptCount val="25"/>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Cosmetics Spray Crema 50+ 220Ml</c:v>
                </c:pt>
                <c:pt idx="5">
                  <c:v>Edgewell Banana Boat Dry Balance Sunscreen Adults Sport Crema 50+ 180Ml</c:v>
                </c:pt>
                <c:pt idx="6">
                  <c:v>Edgewell Banana Boat Dry Balance Sunscreen Adults Sport Spray Liquido 50 220Ml</c:v>
                </c:pt>
                <c:pt idx="7">
                  <c:v>Edgewell Banana Boat Mineral Sunscreen Adults Cosmetics Locion 50 60Ml</c:v>
                </c:pt>
                <c:pt idx="8">
                  <c:v>Edgewell Banana Boat Mineral Sunscreen Adults Sport Locion 50 180Ml</c:v>
                </c:pt>
                <c:pt idx="9">
                  <c:v>Edgewell Banana Boat Ultra Sunscreen Adults Sport Roll-On 60+ 75Ml</c:v>
                </c:pt>
                <c:pt idx="10">
                  <c:v>Edgewell Beauty Care Antioxidant Sunscreen Adults Cosmetics Liquido 15 - 19 100Ml</c:v>
                </c:pt>
                <c:pt idx="11">
                  <c:v>Edgewell Beauty Care Antioxidant Sunscreen Adults Cosmetics Liquido 50+ 50Ml</c:v>
                </c:pt>
                <c:pt idx="12">
                  <c:v>Edgewell Beauty Care Matte Sunscreen Adults Cosmetics Liquido 30 50Ml</c:v>
                </c:pt>
                <c:pt idx="13">
                  <c:v>Edgewell Beauty Care Sensitive Sunscreen Adults Cosmetics Liquido 50+ 50Ml</c:v>
                </c:pt>
                <c:pt idx="14">
                  <c:v>Edgewell Hawaiian Tropic Island Sport Sunscreen Adults Sport Liquido 50 60Ml</c:v>
                </c:pt>
                <c:pt idx="15">
                  <c:v>Edgewell Hawaiian Tropic Other Sunscreen Adults Cosmetics Crema 50+ 240Ml</c:v>
                </c:pt>
                <c:pt idx="16">
                  <c:v>Edgewell Hawaiian Tropic Ozono Sunscreen Adults Cosmetics Liquido 50+ 120Ml</c:v>
                </c:pt>
                <c:pt idx="17">
                  <c:v>Edgewell Hawaiian Tropic Ozono Sunscreen Adults Cosmetics Liquido 50+ 180Ml</c:v>
                </c:pt>
                <c:pt idx="18">
                  <c:v>Edgewell Hawaiian Tropic Ozono Sunscreen Adults Cosmetics Liquido 50+ 240Ml</c:v>
                </c:pt>
                <c:pt idx="19">
                  <c:v>Edgewell Hawaiian Tropic Ozono Sunscreen Adults Cosmetics Liquido 50+ 90Ml</c:v>
                </c:pt>
                <c:pt idx="20">
                  <c:v>Edgewell Hawaiian Tropic Ozono Sunscreen Adults Cosmetics Spray Liquido 50+ 180Ml</c:v>
                </c:pt>
                <c:pt idx="21">
                  <c:v>Edgewell Hawaiian Tropic Sheer Touch Sunscreen Adults Cosmetics Crema 30 - 49 240Ml</c:v>
                </c:pt>
                <c:pt idx="22">
                  <c:v>Edgewell Hawaiian Tropic Sheer Touch Sunscreen Adults Cosmetics Crema 50 120Ml</c:v>
                </c:pt>
                <c:pt idx="23">
                  <c:v>Edgewell Hawaiian Tropic Sheer Touch Sunscreen Adults Cosmetics Liquido 30 - 49 60Ml</c:v>
                </c:pt>
                <c:pt idx="24">
                  <c:v>Edgewell Hawaiian Tropic Tanning Sunscreen Adults Cosmetics Spray Liquido 15 - 19 220Ml</c:v>
                </c:pt>
              </c:strCache>
            </c:strRef>
          </c:cat>
          <c:val>
            <c:numRef>
              <c:f>Sheet1!$B$2:$B$26</c:f>
              <c:numCache>
                <c:formatCode>General</c:formatCode>
                <c:ptCount val="25"/>
                <c:pt idx="0">
                  <c:v>310.0</c:v>
                </c:pt>
                <c:pt idx="1">
                  <c:v>305.0</c:v>
                </c:pt>
                <c:pt idx="2">
                  <c:v>349.0</c:v>
                </c:pt>
                <c:pt idx="3">
                  <c:v>305.0</c:v>
                </c:pt>
                <c:pt idx="4">
                  <c:v>249.0</c:v>
                </c:pt>
                <c:pt idx="5">
                  <c:v>335.0</c:v>
                </c:pt>
                <c:pt idx="6">
                  <c:v>385.0</c:v>
                </c:pt>
                <c:pt idx="7">
                  <c:v>310.0</c:v>
                </c:pt>
                <c:pt idx="8">
                  <c:v>249.0</c:v>
                </c:pt>
                <c:pt idx="9">
                  <c:v>215.0</c:v>
                </c:pt>
                <c:pt idx="10">
                  <c:v>240.0</c:v>
                </c:pt>
                <c:pt idx="11">
                  <c:v>179.0</c:v>
                </c:pt>
                <c:pt idx="12">
                  <c:v>179.0</c:v>
                </c:pt>
                <c:pt idx="13">
                  <c:v>179.0</c:v>
                </c:pt>
                <c:pt idx="14">
                  <c:v>105.0</c:v>
                </c:pt>
                <c:pt idx="15">
                  <c:v>350.0</c:v>
                </c:pt>
                <c:pt idx="16">
                  <c:v>205.0</c:v>
                </c:pt>
                <c:pt idx="17">
                  <c:v>350.0</c:v>
                </c:pt>
                <c:pt idx="18">
                  <c:v>350.0</c:v>
                </c:pt>
                <c:pt idx="19">
                  <c:v>125.0</c:v>
                </c:pt>
                <c:pt idx="20">
                  <c:v>385.0</c:v>
                </c:pt>
                <c:pt idx="21">
                  <c:v>299.0</c:v>
                </c:pt>
                <c:pt idx="22">
                  <c:v>205.0</c:v>
                </c:pt>
                <c:pt idx="23">
                  <c:v>105.0</c:v>
                </c:pt>
                <c:pt idx="24">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8.42</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8.42</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7.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215.0</a:t>
                    </a:r>
                  </a:p>
                </c:rich>
              </c:tx>
              <c:showLegendKey val="0"/>
              <c:showVal val="1"/>
              <c:showCatName val="0"/>
              <c:showSerName val="0"/>
              <c:showPercent val="0"/>
              <c:showBubbleSize val="0"/>
            </c:dLbl>
            <c:dLbl>
              <c:idx val="9"/>
              <c:tx>
                <c:rich>
                  <a:bodyPr/>
                  <a:lstStyle/>
                  <a:p>
                    <a:r>
                      <a:t>179.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05.0</a:t>
                    </a:r>
                  </a:p>
                </c:rich>
              </c:tx>
              <c:showLegendKey val="0"/>
              <c:showVal val="1"/>
              <c:showCatName val="0"/>
              <c:showSerName val="0"/>
              <c:showPercent val="0"/>
              <c:showBubbleSize val="0"/>
            </c:dLbl>
            <c:dLbl>
              <c:idx val="13"/>
              <c:tx>
                <c:rich>
                  <a:bodyPr/>
                  <a:lstStyle/>
                  <a:p>
                    <a:r>
                      <a:t>350.0</a:t>
                    </a:r>
                  </a:p>
                </c:rich>
              </c:tx>
              <c:showLegendKey val="0"/>
              <c:showVal val="1"/>
              <c:showCatName val="0"/>
              <c:showSerName val="0"/>
              <c:showPercent val="0"/>
              <c:showBubbleSize val="0"/>
            </c:dLbl>
            <c:dLbl>
              <c:idx val="14"/>
              <c:tx>
                <c:rich>
                  <a:bodyPr/>
                  <a:lstStyle/>
                  <a:p>
                    <a:r>
                      <a:t>205.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350.0</a:t>
                    </a:r>
                  </a:p>
                </c:rich>
              </c:tx>
              <c:showLegendKey val="0"/>
              <c:showVal val="1"/>
              <c:showCatName val="0"/>
              <c:showSerName val="0"/>
              <c:showPercent val="0"/>
              <c:showBubbleSize val="0"/>
            </c:dLbl>
            <c:dLbl>
              <c:idx val="17"/>
              <c:tx>
                <c:rich>
                  <a:bodyPr/>
                  <a:lstStyle/>
                  <a:p>
                    <a:r>
                      <a:t>125.0</a:t>
                    </a:r>
                  </a:p>
                </c:rich>
              </c:tx>
              <c:showLegendKey val="0"/>
              <c:showVal val="1"/>
              <c:showCatName val="0"/>
              <c:showSerName val="0"/>
              <c:showPercent val="0"/>
              <c:showBubbleSize val="0"/>
            </c:dLbl>
            <c:dLbl>
              <c:idx val="18"/>
              <c:tx>
                <c:rich>
                  <a:bodyPr/>
                  <a:lstStyle/>
                  <a:p>
                    <a:r>
                      <a:t>385.0</a:t>
                    </a:r>
                  </a:p>
                </c:rich>
              </c:tx>
              <c:showLegendKey val="0"/>
              <c:showVal val="1"/>
              <c:showCatName val="0"/>
              <c:showSerName val="0"/>
              <c:showPercent val="0"/>
              <c:showBubbleSize val="0"/>
            </c:dLbl>
            <c:dLbl>
              <c:idx val="19"/>
              <c:tx>
                <c:rich>
                  <a:bodyPr/>
                  <a:lstStyle/>
                  <a:p>
                    <a:r>
                      <a:t>299.0</a:t>
                    </a:r>
                  </a:p>
                </c:rich>
              </c:tx>
              <c:showLegendKey val="0"/>
              <c:showVal val="1"/>
              <c:showCatName val="0"/>
              <c:showSerName val="0"/>
              <c:showPercent val="0"/>
              <c:showBubbleSize val="0"/>
            </c:dLbl>
            <c:dLbl>
              <c:idx val="20"/>
              <c:tx>
                <c:rich>
                  <a:bodyPr/>
                  <a:lstStyle/>
                  <a:p>
                    <a:r>
                      <a:t>205.0</a:t>
                    </a:r>
                  </a:p>
                </c:rich>
              </c:tx>
              <c:showLegendKey val="0"/>
              <c:showVal val="1"/>
              <c:showCatName val="0"/>
              <c:showSerName val="0"/>
              <c:showPercent val="0"/>
              <c:showBubbleSize val="0"/>
            </c:dLbl>
            <c:dLbl>
              <c:idx val="21"/>
              <c:tx>
                <c:rich>
                  <a:bodyPr/>
                  <a:lstStyle/>
                  <a:p>
                    <a:r>
                      <a:t>105.0</a:t>
                    </a:r>
                  </a:p>
                </c:rich>
              </c:tx>
              <c:showLegendKey val="0"/>
              <c:showVal val="1"/>
              <c:showCatName val="0"/>
              <c:showSerName val="0"/>
              <c:showPercent val="0"/>
              <c:showBubbleSize val="0"/>
            </c:dLbl>
            <c:dLbl>
              <c:idx val="2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Crema 50+ 180Ml</c:v>
                </c:pt>
                <c:pt idx="5">
                  <c:v>Edgewell Banana Boat Dry Balance Sunscreen Adults Sport Spray Liquido 50 220Ml</c:v>
                </c:pt>
                <c:pt idx="6">
                  <c:v>Edgewell Banana Boat Mineral Sunscreen Adults Cosmetics Locion 50 60Ml</c:v>
                </c:pt>
                <c:pt idx="7">
                  <c:v>Edgewell Banana Boat Mineral Sunscreen Adults Sport Locion 50 180Ml</c:v>
                </c:pt>
                <c:pt idx="8">
                  <c:v>Edgewell Banana Boat Ultra Sunscreen Adults Sport Roll-On 60+ 75Ml</c:v>
                </c:pt>
                <c:pt idx="9">
                  <c:v>Edgewell Beauty Care Antioxidant Sunscreen Adults Cosmetics Liquido 50+ 50Ml</c:v>
                </c:pt>
                <c:pt idx="10">
                  <c:v>Edgewell Beauty Care Matte Sunscreen Adults Cosmetics Liquido 30 50Ml</c:v>
                </c:pt>
                <c:pt idx="11">
                  <c:v>Edgewell Beauty Care Sensitive Sunscreen Adults Cosmetics Liquido 50+ 50Ml</c:v>
                </c:pt>
                <c:pt idx="12">
                  <c:v>Edgewell Hawaiian Tropic Island Sport Sunscreen Adults Sport Liquido 50 60Ml</c:v>
                </c:pt>
                <c:pt idx="13">
                  <c:v>Edgewell Hawaiian Tropic Other Sunscreen Adults Cosmetics Crema 50+ 240Ml</c:v>
                </c:pt>
                <c:pt idx="14">
                  <c:v>Edgewell Hawaiian Tropic Ozono Sunscreen Adults Cosmetics Liquido 50+ 120Ml</c:v>
                </c:pt>
                <c:pt idx="15">
                  <c:v>Edgewell Hawaiian Tropic Ozono Sunscreen Adults Cosmetics Liquido 50+ 180Ml</c:v>
                </c:pt>
                <c:pt idx="16">
                  <c:v>Edgewell Hawaiian Tropic Ozono Sunscreen Adults Cosmetics Liquido 50+ 240Ml</c:v>
                </c:pt>
                <c:pt idx="17">
                  <c:v>Edgewell Hawaiian Tropic Ozono Sunscreen Adults Cosmetics Liquido 50+ 90Ml</c:v>
                </c:pt>
                <c:pt idx="18">
                  <c:v>Edgewell Hawaiian Tropic Ozono Sunscreen Adults Cosmetics Spray Liquido 50+ 180Ml</c:v>
                </c:pt>
                <c:pt idx="19">
                  <c:v>Edgewell Hawaiian Tropic Sheer Touch Sunscreen Adults Cosmetics Crema 30 - 49 240Ml</c:v>
                </c:pt>
                <c:pt idx="20">
                  <c:v>Edgewell Hawaiian Tropic Sheer Touch Sunscreen Adults Cosmetics Crema 50 120Ml</c:v>
                </c:pt>
                <c:pt idx="21">
                  <c:v>Edgewell Hawaiian Tropic Sheer Touch Sunscreen Adults Cosmetics Liquido 30 - 49 60Ml</c:v>
                </c:pt>
                <c:pt idx="22">
                  <c:v>Edgewell Hawaiian Tropic Tanning Sunscreen Adults Cosmetics Spray Liquido 15 - 19 220Ml</c:v>
                </c:pt>
              </c:strCache>
            </c:strRef>
          </c:cat>
          <c:val>
            <c:numRef>
              <c:f>Sheet1!$B$2:$B$24</c:f>
              <c:numCache>
                <c:formatCode>General</c:formatCode>
                <c:ptCount val="23"/>
                <c:pt idx="0">
                  <c:v>310.0</c:v>
                </c:pt>
                <c:pt idx="1">
                  <c:v>305.0</c:v>
                </c:pt>
                <c:pt idx="2">
                  <c:v>349.0</c:v>
                </c:pt>
                <c:pt idx="3">
                  <c:v>305.0</c:v>
                </c:pt>
                <c:pt idx="4">
                  <c:v>335.0</c:v>
                </c:pt>
                <c:pt idx="5">
                  <c:v>385.0</c:v>
                </c:pt>
                <c:pt idx="6">
                  <c:v>310.0</c:v>
                </c:pt>
                <c:pt idx="7">
                  <c:v>249.0</c:v>
                </c:pt>
                <c:pt idx="8">
                  <c:v>215.0</c:v>
                </c:pt>
                <c:pt idx="9">
                  <c:v>179.0</c:v>
                </c:pt>
                <c:pt idx="10">
                  <c:v>179.0</c:v>
                </c:pt>
                <c:pt idx="11">
                  <c:v>179.0</c:v>
                </c:pt>
                <c:pt idx="12">
                  <c:v>105.0</c:v>
                </c:pt>
                <c:pt idx="13">
                  <c:v>350.0</c:v>
                </c:pt>
                <c:pt idx="14">
                  <c:v>205.0</c:v>
                </c:pt>
                <c:pt idx="15">
                  <c:v>350.0</c:v>
                </c:pt>
                <c:pt idx="16">
                  <c:v>350.0</c:v>
                </c:pt>
                <c:pt idx="17">
                  <c:v>125.0</c:v>
                </c:pt>
                <c:pt idx="18">
                  <c:v>385.0</c:v>
                </c:pt>
                <c:pt idx="19">
                  <c:v>299.0</c:v>
                </c:pt>
                <c:pt idx="20">
                  <c:v>205.0</c:v>
                </c:pt>
                <c:pt idx="21">
                  <c:v>105.0</c:v>
                </c:pt>
                <c:pt idx="2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4.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4.0</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215.0</a:t>
                    </a:r>
                  </a:p>
                </c:rich>
              </c:tx>
              <c:showLegendKey val="0"/>
              <c:showVal val="1"/>
              <c:showCatName val="0"/>
              <c:showSerName val="0"/>
              <c:showPercent val="0"/>
              <c:showBubbleSize val="0"/>
            </c:dLbl>
            <c:dLbl>
              <c:idx val="9"/>
              <c:tx>
                <c:rich>
                  <a:bodyPr/>
                  <a:lstStyle/>
                  <a:p>
                    <a:r>
                      <a:t>240.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79.0</a:t>
                    </a:r>
                  </a:p>
                </c:rich>
              </c:tx>
              <c:showLegendKey val="0"/>
              <c:showVal val="1"/>
              <c:showCatName val="0"/>
              <c:showSerName val="0"/>
              <c:showPercent val="0"/>
              <c:showBubbleSize val="0"/>
            </c:dLbl>
            <c:dLbl>
              <c:idx val="13"/>
              <c:tx>
                <c:rich>
                  <a:bodyPr/>
                  <a:lstStyle/>
                  <a:p>
                    <a:r>
                      <a:t>105.0</a:t>
                    </a:r>
                  </a:p>
                </c:rich>
              </c:tx>
              <c:showLegendKey val="0"/>
              <c:showVal val="1"/>
              <c:showCatName val="0"/>
              <c:showSerName val="0"/>
              <c:showPercent val="0"/>
              <c:showBubbleSize val="0"/>
            </c:dLbl>
            <c:dLbl>
              <c:idx val="14"/>
              <c:tx>
                <c:rich>
                  <a:bodyPr/>
                  <a:lstStyle/>
                  <a:p>
                    <a:r>
                      <a:t>350.0</a:t>
                    </a:r>
                  </a:p>
                </c:rich>
              </c:tx>
              <c:showLegendKey val="0"/>
              <c:showVal val="1"/>
              <c:showCatName val="0"/>
              <c:showSerName val="0"/>
              <c:showPercent val="0"/>
              <c:showBubbleSize val="0"/>
            </c:dLbl>
            <c:dLbl>
              <c:idx val="15"/>
              <c:tx>
                <c:rich>
                  <a:bodyPr/>
                  <a:lstStyle/>
                  <a:p>
                    <a:r>
                      <a:t>205.0</a:t>
                    </a:r>
                  </a:p>
                </c:rich>
              </c:tx>
              <c:showLegendKey val="0"/>
              <c:showVal val="1"/>
              <c:showCatName val="0"/>
              <c:showSerName val="0"/>
              <c:showPercent val="0"/>
              <c:showBubbleSize val="0"/>
            </c:dLbl>
            <c:dLbl>
              <c:idx val="16"/>
              <c:tx>
                <c:rich>
                  <a:bodyPr/>
                  <a:lstStyle/>
                  <a:p>
                    <a:r>
                      <a:t>350.0</a:t>
                    </a:r>
                  </a:p>
                </c:rich>
              </c:tx>
              <c:showLegendKey val="0"/>
              <c:showVal val="1"/>
              <c:showCatName val="0"/>
              <c:showSerName val="0"/>
              <c:showPercent val="0"/>
              <c:showBubbleSize val="0"/>
            </c:dLbl>
            <c:dLbl>
              <c:idx val="17"/>
              <c:tx>
                <c:rich>
                  <a:bodyPr/>
                  <a:lstStyle/>
                  <a:p>
                    <a:r>
                      <a:t>350.0</a:t>
                    </a:r>
                  </a:p>
                </c:rich>
              </c:tx>
              <c:showLegendKey val="0"/>
              <c:showVal val="1"/>
              <c:showCatName val="0"/>
              <c:showSerName val="0"/>
              <c:showPercent val="0"/>
              <c:showBubbleSize val="0"/>
            </c:dLbl>
            <c:dLbl>
              <c:idx val="18"/>
              <c:tx>
                <c:rich>
                  <a:bodyPr/>
                  <a:lstStyle/>
                  <a:p>
                    <a:r>
                      <a:t>125.0</a:t>
                    </a:r>
                  </a:p>
                </c:rich>
              </c:tx>
              <c:showLegendKey val="0"/>
              <c:showVal val="1"/>
              <c:showCatName val="0"/>
              <c:showSerName val="0"/>
              <c:showPercent val="0"/>
              <c:showBubbleSize val="0"/>
            </c:dLbl>
            <c:dLbl>
              <c:idx val="19"/>
              <c:tx>
                <c:rich>
                  <a:bodyPr/>
                  <a:lstStyle/>
                  <a:p>
                    <a:r>
                      <a:t>385.0</a:t>
                    </a:r>
                  </a:p>
                </c:rich>
              </c:tx>
              <c:showLegendKey val="0"/>
              <c:showVal val="1"/>
              <c:showCatName val="0"/>
              <c:showSerName val="0"/>
              <c:showPercent val="0"/>
              <c:showBubbleSize val="0"/>
            </c:dLbl>
            <c:dLbl>
              <c:idx val="20"/>
              <c:tx>
                <c:rich>
                  <a:bodyPr/>
                  <a:lstStyle/>
                  <a:p>
                    <a:r>
                      <a:t>299.0</a:t>
                    </a:r>
                  </a:p>
                </c:rich>
              </c:tx>
              <c:showLegendKey val="0"/>
              <c:showVal val="1"/>
              <c:showCatName val="0"/>
              <c:showSerName val="0"/>
              <c:showPercent val="0"/>
              <c:showBubbleSize val="0"/>
            </c:dLbl>
            <c:dLbl>
              <c:idx val="21"/>
              <c:tx>
                <c:rich>
                  <a:bodyPr/>
                  <a:lstStyle/>
                  <a:p>
                    <a:r>
                      <a:t>205.0</a:t>
                    </a:r>
                  </a:p>
                </c:rich>
              </c:tx>
              <c:showLegendKey val="0"/>
              <c:showVal val="1"/>
              <c:showCatName val="0"/>
              <c:showSerName val="0"/>
              <c:showPercent val="0"/>
              <c:showBubbleSize val="0"/>
            </c:dLbl>
            <c:dLbl>
              <c:idx val="22"/>
              <c:tx>
                <c:rich>
                  <a:bodyPr/>
                  <a:lstStyle/>
                  <a:p>
                    <a:r>
                      <a:t>105.0</a:t>
                    </a:r>
                  </a:p>
                </c:rich>
              </c:tx>
              <c:showLegendKey val="0"/>
              <c:showVal val="1"/>
              <c:showCatName val="0"/>
              <c:showSerName val="0"/>
              <c:showPercent val="0"/>
              <c:showBubbleSize val="0"/>
            </c:dLbl>
            <c:dLbl>
              <c:idx val="23"/>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Crema 50+ 180Ml</c:v>
                </c:pt>
                <c:pt idx="5">
                  <c:v>Edgewell Banana Boat Dry Balance Sunscreen Adults Sport Spray Liquido 50 220Ml</c:v>
                </c:pt>
                <c:pt idx="6">
                  <c:v>Edgewell Banana Boat Mineral Sunscreen Adults Cosmetics Locion 50 60Ml</c:v>
                </c:pt>
                <c:pt idx="7">
                  <c:v>Edgewell Banana Boat Mineral Sunscreen Adults Sport Locion 50 180Ml</c:v>
                </c:pt>
                <c:pt idx="8">
                  <c:v>Edgewell Banana Boat Ultra Sunscreen Adults Sport Roll-On 60+ 75Ml</c:v>
                </c:pt>
                <c:pt idx="9">
                  <c:v>Edgewell Beauty Care Antioxidant Sunscreen Adults Cosmetics Liquido 15 - 19 100Ml</c:v>
                </c:pt>
                <c:pt idx="10">
                  <c:v>Edgewell Beauty Care Antioxidant Sunscreen Adults Cosmetics Liquido 50+ 50Ml</c:v>
                </c:pt>
                <c:pt idx="11">
                  <c:v>Edgewell Beauty Care Matte Sunscreen Adults Cosmetics Liquido 30 50Ml</c:v>
                </c:pt>
                <c:pt idx="12">
                  <c:v>Edgewell Beauty Care Sensitive Sunscreen Adults Cosmetics Liquido 50+ 50Ml</c:v>
                </c:pt>
                <c:pt idx="13">
                  <c:v>Edgewell Hawaiian Tropic Island Sport Sunscreen Adults Sport Liquido 50 60Ml</c:v>
                </c:pt>
                <c:pt idx="14">
                  <c:v>Edgewell Hawaiian Tropic Other Sunscreen Adults Cosmetics Crema 50+ 240Ml</c:v>
                </c:pt>
                <c:pt idx="15">
                  <c:v>Edgewell Hawaiian Tropic Ozono Sunscreen Adults Cosmetics Liquido 50+ 120Ml</c:v>
                </c:pt>
                <c:pt idx="16">
                  <c:v>Edgewell Hawaiian Tropic Ozono Sunscreen Adults Cosmetics Liquido 50+ 180Ml</c:v>
                </c:pt>
                <c:pt idx="17">
                  <c:v>Edgewell Hawaiian Tropic Ozono Sunscreen Adults Cosmetics Liquido 50+ 240Ml</c:v>
                </c:pt>
                <c:pt idx="18">
                  <c:v>Edgewell Hawaiian Tropic Ozono Sunscreen Adults Cosmetics Liquido 50+ 90Ml</c:v>
                </c:pt>
                <c:pt idx="19">
                  <c:v>Edgewell Hawaiian Tropic Ozono Sunscreen Adults Cosmetics Spray Liquido 50+ 180Ml</c:v>
                </c:pt>
                <c:pt idx="20">
                  <c:v>Edgewell Hawaiian Tropic Sheer Touch Sunscreen Adults Cosmetics Crema 30 - 49 240Ml</c:v>
                </c:pt>
                <c:pt idx="21">
                  <c:v>Edgewell Hawaiian Tropic Sheer Touch Sunscreen Adults Cosmetics Crema 50 120Ml</c:v>
                </c:pt>
                <c:pt idx="22">
                  <c:v>Edgewell Hawaiian Tropic Sheer Touch Sunscreen Adults Cosmetics Liquido 30 - 49 60Ml</c:v>
                </c:pt>
                <c:pt idx="23">
                  <c:v>Edgewell Hawaiian Tropic Tanning Sunscreen Adults Cosmetics Spray Liquido 15 - 19 220Ml</c:v>
                </c:pt>
              </c:strCache>
            </c:strRef>
          </c:cat>
          <c:val>
            <c:numRef>
              <c:f>Sheet1!$B$2:$B$25</c:f>
              <c:numCache>
                <c:formatCode>General</c:formatCode>
                <c:ptCount val="24"/>
                <c:pt idx="0">
                  <c:v>310.0</c:v>
                </c:pt>
                <c:pt idx="1">
                  <c:v>305.0</c:v>
                </c:pt>
                <c:pt idx="2">
                  <c:v>349.0</c:v>
                </c:pt>
                <c:pt idx="3">
                  <c:v>305.0</c:v>
                </c:pt>
                <c:pt idx="4">
                  <c:v>335.0</c:v>
                </c:pt>
                <c:pt idx="5">
                  <c:v>385.0</c:v>
                </c:pt>
                <c:pt idx="6">
                  <c:v>310.0</c:v>
                </c:pt>
                <c:pt idx="7">
                  <c:v>249.0</c:v>
                </c:pt>
                <c:pt idx="8">
                  <c:v>215.0</c:v>
                </c:pt>
                <c:pt idx="9">
                  <c:v>240.0</c:v>
                </c:pt>
                <c:pt idx="10">
                  <c:v>179.0</c:v>
                </c:pt>
                <c:pt idx="11">
                  <c:v>179.0</c:v>
                </c:pt>
                <c:pt idx="12">
                  <c:v>179.0</c:v>
                </c:pt>
                <c:pt idx="13">
                  <c:v>105.0</c:v>
                </c:pt>
                <c:pt idx="14">
                  <c:v>350.0</c:v>
                </c:pt>
                <c:pt idx="15">
                  <c:v>205.0</c:v>
                </c:pt>
                <c:pt idx="16">
                  <c:v>350.0</c:v>
                </c:pt>
                <c:pt idx="17">
                  <c:v>350.0</c:v>
                </c:pt>
                <c:pt idx="18">
                  <c:v>125.0</c:v>
                </c:pt>
                <c:pt idx="19">
                  <c:v>385.0</c:v>
                </c:pt>
                <c:pt idx="20">
                  <c:v>299.0</c:v>
                </c:pt>
                <c:pt idx="21">
                  <c:v>205.0</c:v>
                </c:pt>
                <c:pt idx="22">
                  <c:v>105.0</c:v>
                </c:pt>
                <c:pt idx="23">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76.2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76.2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179.0</a:t>
                    </a:r>
                  </a:p>
                </c:rich>
              </c:tx>
              <c:showLegendKey val="0"/>
              <c:showVal val="1"/>
              <c:showCatName val="0"/>
              <c:showSerName val="0"/>
              <c:showPercent val="0"/>
              <c:showBubbleSize val="0"/>
            </c:dLbl>
            <c:dLbl>
              <c:idx val="8"/>
              <c:tx>
                <c:rich>
                  <a:bodyPr/>
                  <a:lstStyle/>
                  <a:p>
                    <a:r>
                      <a:t>179.0</a:t>
                    </a:r>
                  </a:p>
                </c:rich>
              </c:tx>
              <c:showLegendKey val="0"/>
              <c:showVal val="1"/>
              <c:showCatName val="0"/>
              <c:showSerName val="0"/>
              <c:showPercent val="0"/>
              <c:showBubbleSize val="0"/>
            </c:dLbl>
            <c:dLbl>
              <c:idx val="9"/>
              <c:tx>
                <c:rich>
                  <a:bodyPr/>
                  <a:lstStyle/>
                  <a:p>
                    <a:r>
                      <a:t>179.0</a:t>
                    </a:r>
                  </a:p>
                </c:rich>
              </c:tx>
              <c:showLegendKey val="0"/>
              <c:showVal val="1"/>
              <c:showCatName val="0"/>
              <c:showSerName val="0"/>
              <c:showPercent val="0"/>
              <c:showBubbleSize val="0"/>
            </c:dLbl>
            <c:dLbl>
              <c:idx val="10"/>
              <c:tx>
                <c:rich>
                  <a:bodyPr/>
                  <a:lstStyle/>
                  <a:p>
                    <a:r>
                      <a:t>105.0</a:t>
                    </a:r>
                  </a:p>
                </c:rich>
              </c:tx>
              <c:showLegendKey val="0"/>
              <c:showVal val="1"/>
              <c:showCatName val="0"/>
              <c:showSerName val="0"/>
              <c:showPercent val="0"/>
              <c:showBubbleSize val="0"/>
            </c:dLbl>
            <c:dLbl>
              <c:idx val="11"/>
              <c:tx>
                <c:rich>
                  <a:bodyPr/>
                  <a:lstStyle/>
                  <a:p>
                    <a:r>
                      <a:t>350.0</a:t>
                    </a:r>
                  </a:p>
                </c:rich>
              </c:tx>
              <c:showLegendKey val="0"/>
              <c:showVal val="1"/>
              <c:showCatName val="0"/>
              <c:showSerName val="0"/>
              <c:showPercent val="0"/>
              <c:showBubbleSize val="0"/>
            </c:dLbl>
            <c:dLbl>
              <c:idx val="12"/>
              <c:tx>
                <c:rich>
                  <a:bodyPr/>
                  <a:lstStyle/>
                  <a:p>
                    <a:r>
                      <a:t>205.0</a:t>
                    </a:r>
                  </a:p>
                </c:rich>
              </c:tx>
              <c:showLegendKey val="0"/>
              <c:showVal val="1"/>
              <c:showCatName val="0"/>
              <c:showSerName val="0"/>
              <c:showPercent val="0"/>
              <c:showBubbleSize val="0"/>
            </c:dLbl>
            <c:dLbl>
              <c:idx val="13"/>
              <c:tx>
                <c:rich>
                  <a:bodyPr/>
                  <a:lstStyle/>
                  <a:p>
                    <a:r>
                      <a:t>350.0</a:t>
                    </a:r>
                  </a:p>
                </c:rich>
              </c:tx>
              <c:showLegendKey val="0"/>
              <c:showVal val="1"/>
              <c:showCatName val="0"/>
              <c:showSerName val="0"/>
              <c:showPercent val="0"/>
              <c:showBubbleSize val="0"/>
            </c:dLbl>
            <c:dLbl>
              <c:idx val="14"/>
              <c:tx>
                <c:rich>
                  <a:bodyPr/>
                  <a:lstStyle/>
                  <a:p>
                    <a:r>
                      <a:t>125.0</a:t>
                    </a:r>
                  </a:p>
                </c:rich>
              </c:tx>
              <c:showLegendKey val="0"/>
              <c:showVal val="1"/>
              <c:showCatName val="0"/>
              <c:showSerName val="0"/>
              <c:showPercent val="0"/>
              <c:showBubbleSize val="0"/>
            </c:dLbl>
            <c:dLbl>
              <c:idx val="15"/>
              <c:tx>
                <c:rich>
                  <a:bodyPr/>
                  <a:lstStyle/>
                  <a:p>
                    <a:r>
                      <a:t>385.0</a:t>
                    </a:r>
                  </a:p>
                </c:rich>
              </c:tx>
              <c:showLegendKey val="0"/>
              <c:showVal val="1"/>
              <c:showCatName val="0"/>
              <c:showSerName val="0"/>
              <c:showPercent val="0"/>
              <c:showBubbleSize val="0"/>
            </c:dLbl>
            <c:dLbl>
              <c:idx val="16"/>
              <c:tx>
                <c:rich>
                  <a:bodyPr/>
                  <a:lstStyle/>
                  <a:p>
                    <a:r>
                      <a:t>299.0</a:t>
                    </a:r>
                  </a:p>
                </c:rich>
              </c:tx>
              <c:showLegendKey val="0"/>
              <c:showVal val="1"/>
              <c:showCatName val="0"/>
              <c:showSerName val="0"/>
              <c:showPercent val="0"/>
              <c:showBubbleSize val="0"/>
            </c:dLbl>
            <c:dLbl>
              <c:idx val="17"/>
              <c:tx>
                <c:rich>
                  <a:bodyPr/>
                  <a:lstStyle/>
                  <a:p>
                    <a:r>
                      <a:t>205.0</a:t>
                    </a:r>
                  </a:p>
                </c:rich>
              </c:tx>
              <c:showLegendKey val="0"/>
              <c:showVal val="1"/>
              <c:showCatName val="0"/>
              <c:showSerName val="0"/>
              <c:showPercent val="0"/>
              <c:showBubbleSize val="0"/>
            </c:dLbl>
            <c:dLbl>
              <c:idx val="18"/>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Crema 50+ 180Ml</c:v>
                </c:pt>
                <c:pt idx="5">
                  <c:v>Edgewell Banana Boat Dry Balance Sunscreen Adults Sport Spray Liquido 50 220Ml</c:v>
                </c:pt>
                <c:pt idx="6">
                  <c:v>Edgewell Banana Boat Mineral Sunscreen Adults Cosmetics Locion 50 60Ml</c:v>
                </c:pt>
                <c:pt idx="7">
                  <c:v>Edgewell Beauty Care Antioxidant Sunscreen Adults Cosmetics Liquido 50+ 50Ml</c:v>
                </c:pt>
                <c:pt idx="8">
                  <c:v>Edgewell Beauty Care Matte Sunscreen Adults Cosmetics Liquido 30 50Ml</c:v>
                </c:pt>
                <c:pt idx="9">
                  <c:v>Edgewell Beauty Care Sensitive Sunscreen Adults Cosmetics Liquido 50+ 50Ml</c:v>
                </c:pt>
                <c:pt idx="10">
                  <c:v>Edgewell Hawaiian Tropic Island Sport Sunscreen Adults Sport Liquido 50 60Ml</c:v>
                </c:pt>
                <c:pt idx="11">
                  <c:v>Edgewell Hawaiian Tropic Other Sunscreen Adults Cosmetics Crema 50+ 240Ml</c:v>
                </c:pt>
                <c:pt idx="12">
                  <c:v>Edgewell Hawaiian Tropic Ozono Sunscreen Adults Cosmetics Liquido 50+ 120Ml</c:v>
                </c:pt>
                <c:pt idx="13">
                  <c:v>Edgewell Hawaiian Tropic Ozono Sunscreen Adults Cosmetics Liquido 50+ 240Ml</c:v>
                </c:pt>
                <c:pt idx="14">
                  <c:v>Edgewell Hawaiian Tropic Ozono Sunscreen Adults Cosmetics Liquido 50+ 90Ml</c:v>
                </c:pt>
                <c:pt idx="15">
                  <c:v>Edgewell Hawaiian Tropic Ozono Sunscreen Adults Cosmetics Spray Liquido 50+ 180Ml</c:v>
                </c:pt>
                <c:pt idx="16">
                  <c:v>Edgewell Hawaiian Tropic Sheer Touch Sunscreen Adults Cosmetics Crema 30 - 49 240Ml</c:v>
                </c:pt>
                <c:pt idx="17">
                  <c:v>Edgewell Hawaiian Tropic Sheer Touch Sunscreen Adults Cosmetics Crema 50 120Ml</c:v>
                </c:pt>
                <c:pt idx="18">
                  <c:v>Edgewell Hawaiian Tropic Sheer Touch Sunscreen Adults Cosmetics Liquido 30 - 49 60Ml</c:v>
                </c:pt>
              </c:strCache>
            </c:strRef>
          </c:cat>
          <c:val>
            <c:numRef>
              <c:f>Sheet1!$B$2:$B$20</c:f>
              <c:numCache>
                <c:formatCode>General</c:formatCode>
                <c:ptCount val="19"/>
                <c:pt idx="0">
                  <c:v>310.0</c:v>
                </c:pt>
                <c:pt idx="1">
                  <c:v>305.0</c:v>
                </c:pt>
                <c:pt idx="2">
                  <c:v>349.0</c:v>
                </c:pt>
                <c:pt idx="3">
                  <c:v>305.0</c:v>
                </c:pt>
                <c:pt idx="4">
                  <c:v>335.0</c:v>
                </c:pt>
                <c:pt idx="5">
                  <c:v>385.0</c:v>
                </c:pt>
                <c:pt idx="6">
                  <c:v>310.0</c:v>
                </c:pt>
                <c:pt idx="7">
                  <c:v>179.0</c:v>
                </c:pt>
                <c:pt idx="8">
                  <c:v>179.0</c:v>
                </c:pt>
                <c:pt idx="9">
                  <c:v>179.0</c:v>
                </c:pt>
                <c:pt idx="10">
                  <c:v>105.0</c:v>
                </c:pt>
                <c:pt idx="11">
                  <c:v>350.0</c:v>
                </c:pt>
                <c:pt idx="12">
                  <c:v>205.0</c:v>
                </c:pt>
                <c:pt idx="13">
                  <c:v>350.0</c:v>
                </c:pt>
                <c:pt idx="14">
                  <c:v>125.0</c:v>
                </c:pt>
                <c:pt idx="15">
                  <c:v>385.0</c:v>
                </c:pt>
                <c:pt idx="16">
                  <c:v>299.0</c:v>
                </c:pt>
                <c:pt idx="17">
                  <c:v>205.0</c:v>
                </c:pt>
                <c:pt idx="18">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7.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629.0</a:t>
                    </a:r>
                  </a:p>
                </c:rich>
              </c:tx>
              <c:showLegendKey val="0"/>
              <c:showVal val="1"/>
              <c:showCatName val="0"/>
              <c:showSerName val="0"/>
              <c:showPercent val="0"/>
              <c:showBubbleSize val="0"/>
            </c:dLbl>
            <c:dLbl>
              <c:idx val="2"/>
              <c:tx>
                <c:rich>
                  <a:bodyPr/>
                  <a:lstStyle/>
                  <a:p>
                    <a:r>
                      <a:t>278.0</a:t>
                    </a:r>
                  </a:p>
                </c:rich>
              </c:tx>
              <c:showLegendKey val="0"/>
              <c:showVal val="1"/>
              <c:showCatName val="0"/>
              <c:showSerName val="0"/>
              <c:showPercent val="0"/>
              <c:showBubbleSize val="0"/>
            </c:dLbl>
            <c:dLbl>
              <c:idx val="3"/>
              <c:tx>
                <c:rich>
                  <a:bodyPr/>
                  <a:lstStyle/>
                  <a:p>
                    <a:r>
                      <a:t>60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Carrot Tanning Adults Cosmetics Crema 10 - 14 240Ml</c:v>
                </c:pt>
                <c:pt idx="1">
                  <c:v>Australian Gold Australian Gold Tanning Adults Cosmetics Locion 30 237Ml</c:v>
                </c:pt>
                <c:pt idx="2">
                  <c:v>Beiersdorf Nivea Tanning Adults Cosmetics Aceite 6 - 9 200Ml</c:v>
                </c:pt>
                <c:pt idx="3">
                  <c:v>Others Fabricante Unif. Others Marca Unif. Tanning Adults Cosmetics Spray Liquido 0 - 5 177Ml</c:v>
                </c:pt>
              </c:strCache>
            </c:strRef>
          </c:cat>
          <c:val>
            <c:numRef>
              <c:f>Sheet1!$B$2:$B$5</c:f>
              <c:numCache>
                <c:formatCode>General</c:formatCode>
                <c:ptCount val="4"/>
                <c:pt idx="0">
                  <c:v>299.0</c:v>
                </c:pt>
                <c:pt idx="1">
                  <c:v>629.0</c:v>
                </c:pt>
                <c:pt idx="2">
                  <c:v>278.0</c:v>
                </c:pt>
                <c:pt idx="3">
                  <c:v>60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49.0</a:t>
                    </a:r>
                  </a:p>
                </c:rich>
              </c:tx>
              <c:showLegendKey val="0"/>
              <c:showVal val="1"/>
              <c:showCatName val="0"/>
              <c:showSerName val="0"/>
              <c:showPercent val="0"/>
              <c:showBubbleSize val="0"/>
            </c:dLbl>
            <c:dLbl>
              <c:idx val="5"/>
              <c:tx>
                <c:rich>
                  <a:bodyPr/>
                  <a:lstStyle/>
                  <a:p>
                    <a:r>
                      <a:t>33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9.0</a:t>
                    </a:r>
                  </a:p>
                </c:rich>
              </c:tx>
              <c:showLegendKey val="0"/>
              <c:showVal val="1"/>
              <c:showCatName val="0"/>
              <c:showSerName val="0"/>
              <c:showPercent val="0"/>
              <c:showBubbleSize val="0"/>
            </c:dLbl>
            <c:dLbl>
              <c:idx val="9"/>
              <c:tx>
                <c:rich>
                  <a:bodyPr/>
                  <a:lstStyle/>
                  <a:p>
                    <a:r>
                      <a:t>215.0</a:t>
                    </a:r>
                  </a:p>
                </c:rich>
              </c:tx>
              <c:showLegendKey val="0"/>
              <c:showVal val="1"/>
              <c:showCatName val="0"/>
              <c:showSerName val="0"/>
              <c:showPercent val="0"/>
              <c:showBubbleSize val="0"/>
            </c:dLbl>
            <c:dLbl>
              <c:idx val="10"/>
              <c:tx>
                <c:rich>
                  <a:bodyPr/>
                  <a:lstStyle/>
                  <a:p>
                    <a:r>
                      <a:t>240.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79.0</a:t>
                    </a:r>
                  </a:p>
                </c:rich>
              </c:tx>
              <c:showLegendKey val="0"/>
              <c:showVal val="1"/>
              <c:showCatName val="0"/>
              <c:showSerName val="0"/>
              <c:showPercent val="0"/>
              <c:showBubbleSize val="0"/>
            </c:dLbl>
            <c:dLbl>
              <c:idx val="13"/>
              <c:tx>
                <c:rich>
                  <a:bodyPr/>
                  <a:lstStyle/>
                  <a:p>
                    <a:r>
                      <a:t>179.0</a:t>
                    </a:r>
                  </a:p>
                </c:rich>
              </c:tx>
              <c:showLegendKey val="0"/>
              <c:showVal val="1"/>
              <c:showCatName val="0"/>
              <c:showSerName val="0"/>
              <c:showPercent val="0"/>
              <c:showBubbleSize val="0"/>
            </c:dLbl>
            <c:dLbl>
              <c:idx val="14"/>
              <c:tx>
                <c:rich>
                  <a:bodyPr/>
                  <a:lstStyle/>
                  <a:p>
                    <a:r>
                      <a:t>105.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205.0</a:t>
                    </a:r>
                  </a:p>
                </c:rich>
              </c:tx>
              <c:showLegendKey val="0"/>
              <c:showVal val="1"/>
              <c:showCatName val="0"/>
              <c:showSerName val="0"/>
              <c:showPercent val="0"/>
              <c:showBubbleSize val="0"/>
            </c:dLbl>
            <c:dLbl>
              <c:idx val="17"/>
              <c:tx>
                <c:rich>
                  <a:bodyPr/>
                  <a:lstStyle/>
                  <a:p>
                    <a:r>
                      <a:t>350.0</a:t>
                    </a:r>
                  </a:p>
                </c:rich>
              </c:tx>
              <c:showLegendKey val="0"/>
              <c:showVal val="1"/>
              <c:showCatName val="0"/>
              <c:showSerName val="0"/>
              <c:showPercent val="0"/>
              <c:showBubbleSize val="0"/>
            </c:dLbl>
            <c:dLbl>
              <c:idx val="18"/>
              <c:tx>
                <c:rich>
                  <a:bodyPr/>
                  <a:lstStyle/>
                  <a:p>
                    <a:r>
                      <a:t>350.0</a:t>
                    </a:r>
                  </a:p>
                </c:rich>
              </c:tx>
              <c:showLegendKey val="0"/>
              <c:showVal val="1"/>
              <c:showCatName val="0"/>
              <c:showSerName val="0"/>
              <c:showPercent val="0"/>
              <c:showBubbleSize val="0"/>
            </c:dLbl>
            <c:dLbl>
              <c:idx val="19"/>
              <c:tx>
                <c:rich>
                  <a:bodyPr/>
                  <a:lstStyle/>
                  <a:p>
                    <a:r>
                      <a:t>125.0</a:t>
                    </a:r>
                  </a:p>
                </c:rich>
              </c:tx>
              <c:showLegendKey val="0"/>
              <c:showVal val="1"/>
              <c:showCatName val="0"/>
              <c:showSerName val="0"/>
              <c:showPercent val="0"/>
              <c:showBubbleSize val="0"/>
            </c:dLbl>
            <c:dLbl>
              <c:idx val="20"/>
              <c:tx>
                <c:rich>
                  <a:bodyPr/>
                  <a:lstStyle/>
                  <a:p>
                    <a:r>
                      <a:t>385.0</a:t>
                    </a:r>
                  </a:p>
                </c:rich>
              </c:tx>
              <c:showLegendKey val="0"/>
              <c:showVal val="1"/>
              <c:showCatName val="0"/>
              <c:showSerName val="0"/>
              <c:showPercent val="0"/>
              <c:showBubbleSize val="0"/>
            </c:dLbl>
            <c:dLbl>
              <c:idx val="21"/>
              <c:tx>
                <c:rich>
                  <a:bodyPr/>
                  <a:lstStyle/>
                  <a:p>
                    <a:r>
                      <a:t>299.0</a:t>
                    </a:r>
                  </a:p>
                </c:rich>
              </c:tx>
              <c:showLegendKey val="0"/>
              <c:showVal val="1"/>
              <c:showCatName val="0"/>
              <c:showSerName val="0"/>
              <c:showPercent val="0"/>
              <c:showBubbleSize val="0"/>
            </c:dLbl>
            <c:dLbl>
              <c:idx val="22"/>
              <c:tx>
                <c:rich>
                  <a:bodyPr/>
                  <a:lstStyle/>
                  <a:p>
                    <a:r>
                      <a:t>205.0</a:t>
                    </a:r>
                  </a:p>
                </c:rich>
              </c:tx>
              <c:showLegendKey val="0"/>
              <c:showVal val="1"/>
              <c:showCatName val="0"/>
              <c:showSerName val="0"/>
              <c:showPercent val="0"/>
              <c:showBubbleSize val="0"/>
            </c:dLbl>
            <c:dLbl>
              <c:idx val="23"/>
              <c:tx>
                <c:rich>
                  <a:bodyPr/>
                  <a:lstStyle/>
                  <a:p>
                    <a:r>
                      <a:t>105.0</a:t>
                    </a:r>
                  </a:p>
                </c:rich>
              </c:tx>
              <c:showLegendKey val="0"/>
              <c:showVal val="1"/>
              <c:showCatName val="0"/>
              <c:showSerName val="0"/>
              <c:showPercent val="0"/>
              <c:showBubbleSize val="0"/>
            </c:dLbl>
            <c:dLbl>
              <c:idx val="24"/>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6</c:f>
              <c:strCache>
                <c:ptCount val="25"/>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Cosmetics Spray Crema 50+ 220Ml</c:v>
                </c:pt>
                <c:pt idx="5">
                  <c:v>Edgewell Banana Boat Dry Balance Sunscreen Adults Sport Crema 50+ 180Ml</c:v>
                </c:pt>
                <c:pt idx="6">
                  <c:v>Edgewell Banana Boat Dry Balance Sunscreen Adults Sport Spray Liquido 50 220Ml</c:v>
                </c:pt>
                <c:pt idx="7">
                  <c:v>Edgewell Banana Boat Mineral Sunscreen Adults Cosmetics Locion 50 60Ml</c:v>
                </c:pt>
                <c:pt idx="8">
                  <c:v>Edgewell Banana Boat Mineral Sunscreen Adults Sport Locion 50 180Ml</c:v>
                </c:pt>
                <c:pt idx="9">
                  <c:v>Edgewell Banana Boat Ultra Sunscreen Adults Sport Roll-On 60+ 75Ml</c:v>
                </c:pt>
                <c:pt idx="10">
                  <c:v>Edgewell Beauty Care Antioxidant Sunscreen Adults Cosmetics Liquido 15 - 19 100Ml</c:v>
                </c:pt>
                <c:pt idx="11">
                  <c:v>Edgewell Beauty Care Antioxidant Sunscreen Adults Cosmetics Liquido 50+ 50Ml</c:v>
                </c:pt>
                <c:pt idx="12">
                  <c:v>Edgewell Beauty Care Matte Sunscreen Adults Cosmetics Liquido 30 50Ml</c:v>
                </c:pt>
                <c:pt idx="13">
                  <c:v>Edgewell Beauty Care Sensitive Sunscreen Adults Cosmetics Liquido 50+ 50Ml</c:v>
                </c:pt>
                <c:pt idx="14">
                  <c:v>Edgewell Hawaiian Tropic Island Sport Sunscreen Adults Sport Liquido 50 60Ml</c:v>
                </c:pt>
                <c:pt idx="15">
                  <c:v>Edgewell Hawaiian Tropic Other Sunscreen Adults Cosmetics Crema 50+ 240Ml</c:v>
                </c:pt>
                <c:pt idx="16">
                  <c:v>Edgewell Hawaiian Tropic Ozono Sunscreen Adults Cosmetics Liquido 50+ 120Ml</c:v>
                </c:pt>
                <c:pt idx="17">
                  <c:v>Edgewell Hawaiian Tropic Ozono Sunscreen Adults Cosmetics Liquido 50+ 180Ml</c:v>
                </c:pt>
                <c:pt idx="18">
                  <c:v>Edgewell Hawaiian Tropic Ozono Sunscreen Adults Cosmetics Liquido 50+ 240Ml</c:v>
                </c:pt>
                <c:pt idx="19">
                  <c:v>Edgewell Hawaiian Tropic Ozono Sunscreen Adults Cosmetics Liquido 50+ 90Ml</c:v>
                </c:pt>
                <c:pt idx="20">
                  <c:v>Edgewell Hawaiian Tropic Ozono Sunscreen Adults Cosmetics Spray Liquido 50+ 180Ml</c:v>
                </c:pt>
                <c:pt idx="21">
                  <c:v>Edgewell Hawaiian Tropic Sheer Touch Sunscreen Adults Cosmetics Crema 30 - 49 240Ml</c:v>
                </c:pt>
                <c:pt idx="22">
                  <c:v>Edgewell Hawaiian Tropic Sheer Touch Sunscreen Adults Cosmetics Crema 50 120Ml</c:v>
                </c:pt>
                <c:pt idx="23">
                  <c:v>Edgewell Hawaiian Tropic Sheer Touch Sunscreen Adults Cosmetics Liquido 30 - 49 60Ml</c:v>
                </c:pt>
                <c:pt idx="24">
                  <c:v>Edgewell Hawaiian Tropic Tanning Sunscreen Adults Cosmetics Spray Liquido 15 - 19 220Ml</c:v>
                </c:pt>
              </c:strCache>
            </c:strRef>
          </c:cat>
          <c:val>
            <c:numRef>
              <c:f>Sheet1!$B$2:$B$26</c:f>
              <c:numCache>
                <c:formatCode>General</c:formatCode>
                <c:ptCount val="25"/>
                <c:pt idx="0">
                  <c:v>310.0</c:v>
                </c:pt>
                <c:pt idx="1">
                  <c:v>305.0</c:v>
                </c:pt>
                <c:pt idx="2">
                  <c:v>349.0</c:v>
                </c:pt>
                <c:pt idx="3">
                  <c:v>305.0</c:v>
                </c:pt>
                <c:pt idx="4">
                  <c:v>249.0</c:v>
                </c:pt>
                <c:pt idx="5">
                  <c:v>335.0</c:v>
                </c:pt>
                <c:pt idx="6">
                  <c:v>385.0</c:v>
                </c:pt>
                <c:pt idx="7">
                  <c:v>310.0</c:v>
                </c:pt>
                <c:pt idx="8">
                  <c:v>249.0</c:v>
                </c:pt>
                <c:pt idx="9">
                  <c:v>215.0</c:v>
                </c:pt>
                <c:pt idx="10">
                  <c:v>240.0</c:v>
                </c:pt>
                <c:pt idx="11">
                  <c:v>179.0</c:v>
                </c:pt>
                <c:pt idx="12">
                  <c:v>179.0</c:v>
                </c:pt>
                <c:pt idx="13">
                  <c:v>179.0</c:v>
                </c:pt>
                <c:pt idx="14">
                  <c:v>105.0</c:v>
                </c:pt>
                <c:pt idx="15">
                  <c:v>350.0</c:v>
                </c:pt>
                <c:pt idx="16">
                  <c:v>205.0</c:v>
                </c:pt>
                <c:pt idx="17">
                  <c:v>350.0</c:v>
                </c:pt>
                <c:pt idx="18">
                  <c:v>350.0</c:v>
                </c:pt>
                <c:pt idx="19">
                  <c:v>125.0</c:v>
                </c:pt>
                <c:pt idx="20">
                  <c:v>385.0</c:v>
                </c:pt>
                <c:pt idx="21">
                  <c:v>299.0</c:v>
                </c:pt>
                <c:pt idx="22">
                  <c:v>205.0</c:v>
                </c:pt>
                <c:pt idx="23">
                  <c:v>105.0</c:v>
                </c:pt>
                <c:pt idx="24">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7.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49.0</a:t>
                    </a:r>
                  </a:p>
                </c:rich>
              </c:tx>
              <c:showLegendKey val="0"/>
              <c:showVal val="1"/>
              <c:showCatName val="0"/>
              <c:showSerName val="0"/>
              <c:showPercent val="0"/>
              <c:showBubbleSize val="0"/>
            </c:dLbl>
            <c:dLbl>
              <c:idx val="5"/>
              <c:tx>
                <c:rich>
                  <a:bodyPr/>
                  <a:lstStyle/>
                  <a:p>
                    <a:r>
                      <a:t>33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9.0</a:t>
                    </a:r>
                  </a:p>
                </c:rich>
              </c:tx>
              <c:showLegendKey val="0"/>
              <c:showVal val="1"/>
              <c:showCatName val="0"/>
              <c:showSerName val="0"/>
              <c:showPercent val="0"/>
              <c:showBubbleSize val="0"/>
            </c:dLbl>
            <c:dLbl>
              <c:idx val="9"/>
              <c:tx>
                <c:rich>
                  <a:bodyPr/>
                  <a:lstStyle/>
                  <a:p>
                    <a:r>
                      <a:t>215.0</a:t>
                    </a:r>
                  </a:p>
                </c:rich>
              </c:tx>
              <c:showLegendKey val="0"/>
              <c:showVal val="1"/>
              <c:showCatName val="0"/>
              <c:showSerName val="0"/>
              <c:showPercent val="0"/>
              <c:showBubbleSize val="0"/>
            </c:dLbl>
            <c:dLbl>
              <c:idx val="10"/>
              <c:tx>
                <c:rich>
                  <a:bodyPr/>
                  <a:lstStyle/>
                  <a:p>
                    <a:r>
                      <a:t>240.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79.0</a:t>
                    </a:r>
                  </a:p>
                </c:rich>
              </c:tx>
              <c:showLegendKey val="0"/>
              <c:showVal val="1"/>
              <c:showCatName val="0"/>
              <c:showSerName val="0"/>
              <c:showPercent val="0"/>
              <c:showBubbleSize val="0"/>
            </c:dLbl>
            <c:dLbl>
              <c:idx val="13"/>
              <c:tx>
                <c:rich>
                  <a:bodyPr/>
                  <a:lstStyle/>
                  <a:p>
                    <a:r>
                      <a:t>179.0</a:t>
                    </a:r>
                  </a:p>
                </c:rich>
              </c:tx>
              <c:showLegendKey val="0"/>
              <c:showVal val="1"/>
              <c:showCatName val="0"/>
              <c:showSerName val="0"/>
              <c:showPercent val="0"/>
              <c:showBubbleSize val="0"/>
            </c:dLbl>
            <c:dLbl>
              <c:idx val="14"/>
              <c:tx>
                <c:rich>
                  <a:bodyPr/>
                  <a:lstStyle/>
                  <a:p>
                    <a:r>
                      <a:t>105.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205.0</a:t>
                    </a:r>
                  </a:p>
                </c:rich>
              </c:tx>
              <c:showLegendKey val="0"/>
              <c:showVal val="1"/>
              <c:showCatName val="0"/>
              <c:showSerName val="0"/>
              <c:showPercent val="0"/>
              <c:showBubbleSize val="0"/>
            </c:dLbl>
            <c:dLbl>
              <c:idx val="17"/>
              <c:tx>
                <c:rich>
                  <a:bodyPr/>
                  <a:lstStyle/>
                  <a:p>
                    <a:r>
                      <a:t>350.0</a:t>
                    </a:r>
                  </a:p>
                </c:rich>
              </c:tx>
              <c:showLegendKey val="0"/>
              <c:showVal val="1"/>
              <c:showCatName val="0"/>
              <c:showSerName val="0"/>
              <c:showPercent val="0"/>
              <c:showBubbleSize val="0"/>
            </c:dLbl>
            <c:dLbl>
              <c:idx val="18"/>
              <c:tx>
                <c:rich>
                  <a:bodyPr/>
                  <a:lstStyle/>
                  <a:p>
                    <a:r>
                      <a:t>350.0</a:t>
                    </a:r>
                  </a:p>
                </c:rich>
              </c:tx>
              <c:showLegendKey val="0"/>
              <c:showVal val="1"/>
              <c:showCatName val="0"/>
              <c:showSerName val="0"/>
              <c:showPercent val="0"/>
              <c:showBubbleSize val="0"/>
            </c:dLbl>
            <c:dLbl>
              <c:idx val="19"/>
              <c:tx>
                <c:rich>
                  <a:bodyPr/>
                  <a:lstStyle/>
                  <a:p>
                    <a:r>
                      <a:t>125.0</a:t>
                    </a:r>
                  </a:p>
                </c:rich>
              </c:tx>
              <c:showLegendKey val="0"/>
              <c:showVal val="1"/>
              <c:showCatName val="0"/>
              <c:showSerName val="0"/>
              <c:showPercent val="0"/>
              <c:showBubbleSize val="0"/>
            </c:dLbl>
            <c:dLbl>
              <c:idx val="20"/>
              <c:tx>
                <c:rich>
                  <a:bodyPr/>
                  <a:lstStyle/>
                  <a:p>
                    <a:r>
                      <a:t>385.0</a:t>
                    </a:r>
                  </a:p>
                </c:rich>
              </c:tx>
              <c:showLegendKey val="0"/>
              <c:showVal val="1"/>
              <c:showCatName val="0"/>
              <c:showSerName val="0"/>
              <c:showPercent val="0"/>
              <c:showBubbleSize val="0"/>
            </c:dLbl>
            <c:dLbl>
              <c:idx val="21"/>
              <c:tx>
                <c:rich>
                  <a:bodyPr/>
                  <a:lstStyle/>
                  <a:p>
                    <a:r>
                      <a:t>299.0</a:t>
                    </a:r>
                  </a:p>
                </c:rich>
              </c:tx>
              <c:showLegendKey val="0"/>
              <c:showVal val="1"/>
              <c:showCatName val="0"/>
              <c:showSerName val="0"/>
              <c:showPercent val="0"/>
              <c:showBubbleSize val="0"/>
            </c:dLbl>
            <c:dLbl>
              <c:idx val="22"/>
              <c:tx>
                <c:rich>
                  <a:bodyPr/>
                  <a:lstStyle/>
                  <a:p>
                    <a:r>
                      <a:t>205.0</a:t>
                    </a:r>
                  </a:p>
                </c:rich>
              </c:tx>
              <c:showLegendKey val="0"/>
              <c:showVal val="1"/>
              <c:showCatName val="0"/>
              <c:showSerName val="0"/>
              <c:showPercent val="0"/>
              <c:showBubbleSize val="0"/>
            </c:dLbl>
            <c:dLbl>
              <c:idx val="23"/>
              <c:tx>
                <c:rich>
                  <a:bodyPr/>
                  <a:lstStyle/>
                  <a:p>
                    <a:r>
                      <a:t>105.0</a:t>
                    </a:r>
                  </a:p>
                </c:rich>
              </c:tx>
              <c:showLegendKey val="0"/>
              <c:showVal val="1"/>
              <c:showCatName val="0"/>
              <c:showSerName val="0"/>
              <c:showPercent val="0"/>
              <c:showBubbleSize val="0"/>
            </c:dLbl>
            <c:dLbl>
              <c:idx val="24"/>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6</c:f>
              <c:strCache>
                <c:ptCount val="25"/>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Cosmetics Spray Crema 50+ 220Ml</c:v>
                </c:pt>
                <c:pt idx="5">
                  <c:v>Edgewell Banana Boat Dry Balance Sunscreen Adults Sport Crema 50+ 180Ml</c:v>
                </c:pt>
                <c:pt idx="6">
                  <c:v>Edgewell Banana Boat Dry Balance Sunscreen Adults Sport Spray Liquido 50 220Ml</c:v>
                </c:pt>
                <c:pt idx="7">
                  <c:v>Edgewell Banana Boat Mineral Sunscreen Adults Cosmetics Locion 50 60Ml</c:v>
                </c:pt>
                <c:pt idx="8">
                  <c:v>Edgewell Banana Boat Mineral Sunscreen Adults Sport Locion 50 180Ml</c:v>
                </c:pt>
                <c:pt idx="9">
                  <c:v>Edgewell Banana Boat Ultra Sunscreen Adults Sport Roll-On 60+ 75Ml</c:v>
                </c:pt>
                <c:pt idx="10">
                  <c:v>Edgewell Beauty Care Antioxidant Sunscreen Adults Cosmetics Liquido 15 - 19 100Ml</c:v>
                </c:pt>
                <c:pt idx="11">
                  <c:v>Edgewell Beauty Care Antioxidant Sunscreen Adults Cosmetics Liquido 50+ 50Ml</c:v>
                </c:pt>
                <c:pt idx="12">
                  <c:v>Edgewell Beauty Care Matte Sunscreen Adults Cosmetics Liquido 30 50Ml</c:v>
                </c:pt>
                <c:pt idx="13">
                  <c:v>Edgewell Beauty Care Sensitive Sunscreen Adults Cosmetics Liquido 50+ 50Ml</c:v>
                </c:pt>
                <c:pt idx="14">
                  <c:v>Edgewell Hawaiian Tropic Island Sport Sunscreen Adults Sport Liquido 50 60Ml</c:v>
                </c:pt>
                <c:pt idx="15">
                  <c:v>Edgewell Hawaiian Tropic Other Sunscreen Adults Cosmetics Crema 50+ 240Ml</c:v>
                </c:pt>
                <c:pt idx="16">
                  <c:v>Edgewell Hawaiian Tropic Ozono Sunscreen Adults Cosmetics Liquido 50+ 120Ml</c:v>
                </c:pt>
                <c:pt idx="17">
                  <c:v>Edgewell Hawaiian Tropic Ozono Sunscreen Adults Cosmetics Liquido 50+ 180Ml</c:v>
                </c:pt>
                <c:pt idx="18">
                  <c:v>Edgewell Hawaiian Tropic Ozono Sunscreen Adults Cosmetics Liquido 50+ 240Ml</c:v>
                </c:pt>
                <c:pt idx="19">
                  <c:v>Edgewell Hawaiian Tropic Ozono Sunscreen Adults Cosmetics Liquido 50+ 90Ml</c:v>
                </c:pt>
                <c:pt idx="20">
                  <c:v>Edgewell Hawaiian Tropic Ozono Sunscreen Adults Cosmetics Spray Liquido 50+ 180Ml</c:v>
                </c:pt>
                <c:pt idx="21">
                  <c:v>Edgewell Hawaiian Tropic Sheer Touch Sunscreen Adults Cosmetics Crema 30 - 49 240Ml</c:v>
                </c:pt>
                <c:pt idx="22">
                  <c:v>Edgewell Hawaiian Tropic Sheer Touch Sunscreen Adults Cosmetics Crema 50 120Ml</c:v>
                </c:pt>
                <c:pt idx="23">
                  <c:v>Edgewell Hawaiian Tropic Sheer Touch Sunscreen Adults Cosmetics Liquido 30 - 49 60Ml</c:v>
                </c:pt>
                <c:pt idx="24">
                  <c:v>Edgewell Hawaiian Tropic Tanning Sunscreen Adults Cosmetics Spray Liquido 15 - 19 220Ml</c:v>
                </c:pt>
              </c:strCache>
            </c:strRef>
          </c:cat>
          <c:val>
            <c:numRef>
              <c:f>Sheet1!$B$2:$B$26</c:f>
              <c:numCache>
                <c:formatCode>General</c:formatCode>
                <c:ptCount val="25"/>
                <c:pt idx="0">
                  <c:v>310.0</c:v>
                </c:pt>
                <c:pt idx="1">
                  <c:v>305.0</c:v>
                </c:pt>
                <c:pt idx="2">
                  <c:v>349.0</c:v>
                </c:pt>
                <c:pt idx="3">
                  <c:v>305.0</c:v>
                </c:pt>
                <c:pt idx="4">
                  <c:v>249.0</c:v>
                </c:pt>
                <c:pt idx="5">
                  <c:v>335.0</c:v>
                </c:pt>
                <c:pt idx="6">
                  <c:v>385.0</c:v>
                </c:pt>
                <c:pt idx="7">
                  <c:v>310.0</c:v>
                </c:pt>
                <c:pt idx="8">
                  <c:v>249.0</c:v>
                </c:pt>
                <c:pt idx="9">
                  <c:v>215.0</c:v>
                </c:pt>
                <c:pt idx="10">
                  <c:v>240.0</c:v>
                </c:pt>
                <c:pt idx="11">
                  <c:v>179.0</c:v>
                </c:pt>
                <c:pt idx="12">
                  <c:v>179.0</c:v>
                </c:pt>
                <c:pt idx="13">
                  <c:v>179.0</c:v>
                </c:pt>
                <c:pt idx="14">
                  <c:v>105.0</c:v>
                </c:pt>
                <c:pt idx="15">
                  <c:v>350.0</c:v>
                </c:pt>
                <c:pt idx="16">
                  <c:v>205.0</c:v>
                </c:pt>
                <c:pt idx="17">
                  <c:v>350.0</c:v>
                </c:pt>
                <c:pt idx="18">
                  <c:v>350.0</c:v>
                </c:pt>
                <c:pt idx="19">
                  <c:v>125.0</c:v>
                </c:pt>
                <c:pt idx="20">
                  <c:v>385.0</c:v>
                </c:pt>
                <c:pt idx="21">
                  <c:v>299.0</c:v>
                </c:pt>
                <c:pt idx="22">
                  <c:v>205.0</c:v>
                </c:pt>
                <c:pt idx="23">
                  <c:v>105.0</c:v>
                </c:pt>
                <c:pt idx="24">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49.0</a:t>
                    </a:r>
                  </a:p>
                </c:rich>
              </c:tx>
              <c:showLegendKey val="0"/>
              <c:showVal val="1"/>
              <c:showCatName val="0"/>
              <c:showSerName val="0"/>
              <c:showPercent val="0"/>
              <c:showBubbleSize val="0"/>
            </c:dLbl>
            <c:dLbl>
              <c:idx val="5"/>
              <c:tx>
                <c:rich>
                  <a:bodyPr/>
                  <a:lstStyle/>
                  <a:p>
                    <a:r>
                      <a:t>33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9.0</a:t>
                    </a:r>
                  </a:p>
                </c:rich>
              </c:tx>
              <c:showLegendKey val="0"/>
              <c:showVal val="1"/>
              <c:showCatName val="0"/>
              <c:showSerName val="0"/>
              <c:showPercent val="0"/>
              <c:showBubbleSize val="0"/>
            </c:dLbl>
            <c:dLbl>
              <c:idx val="9"/>
              <c:tx>
                <c:rich>
                  <a:bodyPr/>
                  <a:lstStyle/>
                  <a:p>
                    <a:r>
                      <a:t>215.0</a:t>
                    </a:r>
                  </a:p>
                </c:rich>
              </c:tx>
              <c:showLegendKey val="0"/>
              <c:showVal val="1"/>
              <c:showCatName val="0"/>
              <c:showSerName val="0"/>
              <c:showPercent val="0"/>
              <c:showBubbleSize val="0"/>
            </c:dLbl>
            <c:dLbl>
              <c:idx val="10"/>
              <c:tx>
                <c:rich>
                  <a:bodyPr/>
                  <a:lstStyle/>
                  <a:p>
                    <a:r>
                      <a:t>240.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79.0</a:t>
                    </a:r>
                  </a:p>
                </c:rich>
              </c:tx>
              <c:showLegendKey val="0"/>
              <c:showVal val="1"/>
              <c:showCatName val="0"/>
              <c:showSerName val="0"/>
              <c:showPercent val="0"/>
              <c:showBubbleSize val="0"/>
            </c:dLbl>
            <c:dLbl>
              <c:idx val="13"/>
              <c:tx>
                <c:rich>
                  <a:bodyPr/>
                  <a:lstStyle/>
                  <a:p>
                    <a:r>
                      <a:t>179.0</a:t>
                    </a:r>
                  </a:p>
                </c:rich>
              </c:tx>
              <c:showLegendKey val="0"/>
              <c:showVal val="1"/>
              <c:showCatName val="0"/>
              <c:showSerName val="0"/>
              <c:showPercent val="0"/>
              <c:showBubbleSize val="0"/>
            </c:dLbl>
            <c:dLbl>
              <c:idx val="14"/>
              <c:tx>
                <c:rich>
                  <a:bodyPr/>
                  <a:lstStyle/>
                  <a:p>
                    <a:r>
                      <a:t>105.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205.0</a:t>
                    </a:r>
                  </a:p>
                </c:rich>
              </c:tx>
              <c:showLegendKey val="0"/>
              <c:showVal val="1"/>
              <c:showCatName val="0"/>
              <c:showSerName val="0"/>
              <c:showPercent val="0"/>
              <c:showBubbleSize val="0"/>
            </c:dLbl>
            <c:dLbl>
              <c:idx val="17"/>
              <c:tx>
                <c:rich>
                  <a:bodyPr/>
                  <a:lstStyle/>
                  <a:p>
                    <a:r>
                      <a:t>350.0</a:t>
                    </a:r>
                  </a:p>
                </c:rich>
              </c:tx>
              <c:showLegendKey val="0"/>
              <c:showVal val="1"/>
              <c:showCatName val="0"/>
              <c:showSerName val="0"/>
              <c:showPercent val="0"/>
              <c:showBubbleSize val="0"/>
            </c:dLbl>
            <c:dLbl>
              <c:idx val="18"/>
              <c:tx>
                <c:rich>
                  <a:bodyPr/>
                  <a:lstStyle/>
                  <a:p>
                    <a:r>
                      <a:t>350.0</a:t>
                    </a:r>
                  </a:p>
                </c:rich>
              </c:tx>
              <c:showLegendKey val="0"/>
              <c:showVal val="1"/>
              <c:showCatName val="0"/>
              <c:showSerName val="0"/>
              <c:showPercent val="0"/>
              <c:showBubbleSize val="0"/>
            </c:dLbl>
            <c:dLbl>
              <c:idx val="19"/>
              <c:tx>
                <c:rich>
                  <a:bodyPr/>
                  <a:lstStyle/>
                  <a:p>
                    <a:r>
                      <a:t>125.0</a:t>
                    </a:r>
                  </a:p>
                </c:rich>
              </c:tx>
              <c:showLegendKey val="0"/>
              <c:showVal val="1"/>
              <c:showCatName val="0"/>
              <c:showSerName val="0"/>
              <c:showPercent val="0"/>
              <c:showBubbleSize val="0"/>
            </c:dLbl>
            <c:dLbl>
              <c:idx val="20"/>
              <c:tx>
                <c:rich>
                  <a:bodyPr/>
                  <a:lstStyle/>
                  <a:p>
                    <a:r>
                      <a:t>385.0</a:t>
                    </a:r>
                  </a:p>
                </c:rich>
              </c:tx>
              <c:showLegendKey val="0"/>
              <c:showVal val="1"/>
              <c:showCatName val="0"/>
              <c:showSerName val="0"/>
              <c:showPercent val="0"/>
              <c:showBubbleSize val="0"/>
            </c:dLbl>
            <c:dLbl>
              <c:idx val="21"/>
              <c:tx>
                <c:rich>
                  <a:bodyPr/>
                  <a:lstStyle/>
                  <a:p>
                    <a:r>
                      <a:t>299.0</a:t>
                    </a:r>
                  </a:p>
                </c:rich>
              </c:tx>
              <c:showLegendKey val="0"/>
              <c:showVal val="1"/>
              <c:showCatName val="0"/>
              <c:showSerName val="0"/>
              <c:showPercent val="0"/>
              <c:showBubbleSize val="0"/>
            </c:dLbl>
            <c:dLbl>
              <c:idx val="22"/>
              <c:tx>
                <c:rich>
                  <a:bodyPr/>
                  <a:lstStyle/>
                  <a:p>
                    <a:r>
                      <a:t>205.0</a:t>
                    </a:r>
                  </a:p>
                </c:rich>
              </c:tx>
              <c:showLegendKey val="0"/>
              <c:showVal val="1"/>
              <c:showCatName val="0"/>
              <c:showSerName val="0"/>
              <c:showPercent val="0"/>
              <c:showBubbleSize val="0"/>
            </c:dLbl>
            <c:dLbl>
              <c:idx val="23"/>
              <c:tx>
                <c:rich>
                  <a:bodyPr/>
                  <a:lstStyle/>
                  <a:p>
                    <a:r>
                      <a:t>105.0</a:t>
                    </a:r>
                  </a:p>
                </c:rich>
              </c:tx>
              <c:showLegendKey val="0"/>
              <c:showVal val="1"/>
              <c:showCatName val="0"/>
              <c:showSerName val="0"/>
              <c:showPercent val="0"/>
              <c:showBubbleSize val="0"/>
            </c:dLbl>
            <c:dLbl>
              <c:idx val="24"/>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6</c:f>
              <c:strCache>
                <c:ptCount val="25"/>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Cosmetics Spray Crema 50+ 220Ml</c:v>
                </c:pt>
                <c:pt idx="5">
                  <c:v>Edgewell Banana Boat Dry Balance Sunscreen Adults Sport Crema 50+ 180Ml</c:v>
                </c:pt>
                <c:pt idx="6">
                  <c:v>Edgewell Banana Boat Dry Balance Sunscreen Adults Sport Spray Liquido 50 220Ml</c:v>
                </c:pt>
                <c:pt idx="7">
                  <c:v>Edgewell Banana Boat Mineral Sunscreen Adults Cosmetics Locion 50 60Ml</c:v>
                </c:pt>
                <c:pt idx="8">
                  <c:v>Edgewell Banana Boat Mineral Sunscreen Adults Sport Locion 50 180Ml</c:v>
                </c:pt>
                <c:pt idx="9">
                  <c:v>Edgewell Banana Boat Ultra Sunscreen Adults Sport Roll-On 60+ 75Ml</c:v>
                </c:pt>
                <c:pt idx="10">
                  <c:v>Edgewell Beauty Care Antioxidant Sunscreen Adults Cosmetics Liquido 15 - 19 100Ml</c:v>
                </c:pt>
                <c:pt idx="11">
                  <c:v>Edgewell Beauty Care Antioxidant Sunscreen Adults Cosmetics Liquido 50+ 50Ml</c:v>
                </c:pt>
                <c:pt idx="12">
                  <c:v>Edgewell Beauty Care Matte Sunscreen Adults Cosmetics Liquido 30 50Ml</c:v>
                </c:pt>
                <c:pt idx="13">
                  <c:v>Edgewell Beauty Care Sensitive Sunscreen Adults Cosmetics Liquido 50+ 50Ml</c:v>
                </c:pt>
                <c:pt idx="14">
                  <c:v>Edgewell Hawaiian Tropic Island Sport Sunscreen Adults Sport Liquido 50 60Ml</c:v>
                </c:pt>
                <c:pt idx="15">
                  <c:v>Edgewell Hawaiian Tropic Other Sunscreen Adults Cosmetics Crema 50+ 240Ml</c:v>
                </c:pt>
                <c:pt idx="16">
                  <c:v>Edgewell Hawaiian Tropic Ozono Sunscreen Adults Cosmetics Liquido 50+ 120Ml</c:v>
                </c:pt>
                <c:pt idx="17">
                  <c:v>Edgewell Hawaiian Tropic Ozono Sunscreen Adults Cosmetics Liquido 50+ 180Ml</c:v>
                </c:pt>
                <c:pt idx="18">
                  <c:v>Edgewell Hawaiian Tropic Ozono Sunscreen Adults Cosmetics Liquido 50+ 240Ml</c:v>
                </c:pt>
                <c:pt idx="19">
                  <c:v>Edgewell Hawaiian Tropic Ozono Sunscreen Adults Cosmetics Liquido 50+ 90Ml</c:v>
                </c:pt>
                <c:pt idx="20">
                  <c:v>Edgewell Hawaiian Tropic Ozono Sunscreen Adults Cosmetics Spray Liquido 50+ 180Ml</c:v>
                </c:pt>
                <c:pt idx="21">
                  <c:v>Edgewell Hawaiian Tropic Sheer Touch Sunscreen Adults Cosmetics Crema 30 - 49 240Ml</c:v>
                </c:pt>
                <c:pt idx="22">
                  <c:v>Edgewell Hawaiian Tropic Sheer Touch Sunscreen Adults Cosmetics Crema 50 120Ml</c:v>
                </c:pt>
                <c:pt idx="23">
                  <c:v>Edgewell Hawaiian Tropic Sheer Touch Sunscreen Adults Cosmetics Liquido 30 - 49 60Ml</c:v>
                </c:pt>
                <c:pt idx="24">
                  <c:v>Edgewell Hawaiian Tropic Tanning Sunscreen Adults Cosmetics Spray Liquido 15 - 19 220Ml</c:v>
                </c:pt>
              </c:strCache>
            </c:strRef>
          </c:cat>
          <c:val>
            <c:numRef>
              <c:f>Sheet1!$B$2:$B$26</c:f>
              <c:numCache>
                <c:formatCode>General</c:formatCode>
                <c:ptCount val="25"/>
                <c:pt idx="0">
                  <c:v>310.0</c:v>
                </c:pt>
                <c:pt idx="1">
                  <c:v>305.0</c:v>
                </c:pt>
                <c:pt idx="2">
                  <c:v>349.0</c:v>
                </c:pt>
                <c:pt idx="3">
                  <c:v>305.0</c:v>
                </c:pt>
                <c:pt idx="4">
                  <c:v>249.0</c:v>
                </c:pt>
                <c:pt idx="5">
                  <c:v>335.0</c:v>
                </c:pt>
                <c:pt idx="6">
                  <c:v>385.0</c:v>
                </c:pt>
                <c:pt idx="7">
                  <c:v>310.0</c:v>
                </c:pt>
                <c:pt idx="8">
                  <c:v>249.0</c:v>
                </c:pt>
                <c:pt idx="9">
                  <c:v>215.0</c:v>
                </c:pt>
                <c:pt idx="10">
                  <c:v>240.0</c:v>
                </c:pt>
                <c:pt idx="11">
                  <c:v>179.0</c:v>
                </c:pt>
                <c:pt idx="12">
                  <c:v>179.0</c:v>
                </c:pt>
                <c:pt idx="13">
                  <c:v>179.0</c:v>
                </c:pt>
                <c:pt idx="14">
                  <c:v>105.0</c:v>
                </c:pt>
                <c:pt idx="15">
                  <c:v>350.0</c:v>
                </c:pt>
                <c:pt idx="16">
                  <c:v>205.0</c:v>
                </c:pt>
                <c:pt idx="17">
                  <c:v>350.0</c:v>
                </c:pt>
                <c:pt idx="18">
                  <c:v>350.0</c:v>
                </c:pt>
                <c:pt idx="19">
                  <c:v>125.0</c:v>
                </c:pt>
                <c:pt idx="20">
                  <c:v>385.0</c:v>
                </c:pt>
                <c:pt idx="21">
                  <c:v>299.0</c:v>
                </c:pt>
                <c:pt idx="22">
                  <c:v>205.0</c:v>
                </c:pt>
                <c:pt idx="23">
                  <c:v>105.0</c:v>
                </c:pt>
                <c:pt idx="24">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7.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215.0</a:t>
                    </a:r>
                  </a:p>
                </c:rich>
              </c:tx>
              <c:showLegendKey val="0"/>
              <c:showVal val="1"/>
              <c:showCatName val="0"/>
              <c:showSerName val="0"/>
              <c:showPercent val="0"/>
              <c:showBubbleSize val="0"/>
            </c:dLbl>
            <c:dLbl>
              <c:idx val="9"/>
              <c:tx>
                <c:rich>
                  <a:bodyPr/>
                  <a:lstStyle/>
                  <a:p>
                    <a:r>
                      <a:t>240.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79.0</a:t>
                    </a:r>
                  </a:p>
                </c:rich>
              </c:tx>
              <c:showLegendKey val="0"/>
              <c:showVal val="1"/>
              <c:showCatName val="0"/>
              <c:showSerName val="0"/>
              <c:showPercent val="0"/>
              <c:showBubbleSize val="0"/>
            </c:dLbl>
            <c:dLbl>
              <c:idx val="13"/>
              <c:tx>
                <c:rich>
                  <a:bodyPr/>
                  <a:lstStyle/>
                  <a:p>
                    <a:r>
                      <a:t>105.0</a:t>
                    </a:r>
                  </a:p>
                </c:rich>
              </c:tx>
              <c:showLegendKey val="0"/>
              <c:showVal val="1"/>
              <c:showCatName val="0"/>
              <c:showSerName val="0"/>
              <c:showPercent val="0"/>
              <c:showBubbleSize val="0"/>
            </c:dLbl>
            <c:dLbl>
              <c:idx val="14"/>
              <c:tx>
                <c:rich>
                  <a:bodyPr/>
                  <a:lstStyle/>
                  <a:p>
                    <a:r>
                      <a:t>350.0</a:t>
                    </a:r>
                  </a:p>
                </c:rich>
              </c:tx>
              <c:showLegendKey val="0"/>
              <c:showVal val="1"/>
              <c:showCatName val="0"/>
              <c:showSerName val="0"/>
              <c:showPercent val="0"/>
              <c:showBubbleSize val="0"/>
            </c:dLbl>
            <c:dLbl>
              <c:idx val="15"/>
              <c:tx>
                <c:rich>
                  <a:bodyPr/>
                  <a:lstStyle/>
                  <a:p>
                    <a:r>
                      <a:t>205.0</a:t>
                    </a:r>
                  </a:p>
                </c:rich>
              </c:tx>
              <c:showLegendKey val="0"/>
              <c:showVal val="1"/>
              <c:showCatName val="0"/>
              <c:showSerName val="0"/>
              <c:showPercent val="0"/>
              <c:showBubbleSize val="0"/>
            </c:dLbl>
            <c:dLbl>
              <c:idx val="16"/>
              <c:tx>
                <c:rich>
                  <a:bodyPr/>
                  <a:lstStyle/>
                  <a:p>
                    <a:r>
                      <a:t>350.0</a:t>
                    </a:r>
                  </a:p>
                </c:rich>
              </c:tx>
              <c:showLegendKey val="0"/>
              <c:showVal val="1"/>
              <c:showCatName val="0"/>
              <c:showSerName val="0"/>
              <c:showPercent val="0"/>
              <c:showBubbleSize val="0"/>
            </c:dLbl>
            <c:dLbl>
              <c:idx val="17"/>
              <c:tx>
                <c:rich>
                  <a:bodyPr/>
                  <a:lstStyle/>
                  <a:p>
                    <a:r>
                      <a:t>350.0</a:t>
                    </a:r>
                  </a:p>
                </c:rich>
              </c:tx>
              <c:showLegendKey val="0"/>
              <c:showVal val="1"/>
              <c:showCatName val="0"/>
              <c:showSerName val="0"/>
              <c:showPercent val="0"/>
              <c:showBubbleSize val="0"/>
            </c:dLbl>
            <c:dLbl>
              <c:idx val="18"/>
              <c:tx>
                <c:rich>
                  <a:bodyPr/>
                  <a:lstStyle/>
                  <a:p>
                    <a:r>
                      <a:t>125.0</a:t>
                    </a:r>
                  </a:p>
                </c:rich>
              </c:tx>
              <c:showLegendKey val="0"/>
              <c:showVal val="1"/>
              <c:showCatName val="0"/>
              <c:showSerName val="0"/>
              <c:showPercent val="0"/>
              <c:showBubbleSize val="0"/>
            </c:dLbl>
            <c:dLbl>
              <c:idx val="19"/>
              <c:tx>
                <c:rich>
                  <a:bodyPr/>
                  <a:lstStyle/>
                  <a:p>
                    <a:r>
                      <a:t>385.0</a:t>
                    </a:r>
                  </a:p>
                </c:rich>
              </c:tx>
              <c:showLegendKey val="0"/>
              <c:showVal val="1"/>
              <c:showCatName val="0"/>
              <c:showSerName val="0"/>
              <c:showPercent val="0"/>
              <c:showBubbleSize val="0"/>
            </c:dLbl>
            <c:dLbl>
              <c:idx val="20"/>
              <c:tx>
                <c:rich>
                  <a:bodyPr/>
                  <a:lstStyle/>
                  <a:p>
                    <a:r>
                      <a:t>299.0</a:t>
                    </a:r>
                  </a:p>
                </c:rich>
              </c:tx>
              <c:showLegendKey val="0"/>
              <c:showVal val="1"/>
              <c:showCatName val="0"/>
              <c:showSerName val="0"/>
              <c:showPercent val="0"/>
              <c:showBubbleSize val="0"/>
            </c:dLbl>
            <c:dLbl>
              <c:idx val="21"/>
              <c:tx>
                <c:rich>
                  <a:bodyPr/>
                  <a:lstStyle/>
                  <a:p>
                    <a:r>
                      <a:t>205.0</a:t>
                    </a:r>
                  </a:p>
                </c:rich>
              </c:tx>
              <c:showLegendKey val="0"/>
              <c:showVal val="1"/>
              <c:showCatName val="0"/>
              <c:showSerName val="0"/>
              <c:showPercent val="0"/>
              <c:showBubbleSize val="0"/>
            </c:dLbl>
            <c:dLbl>
              <c:idx val="22"/>
              <c:tx>
                <c:rich>
                  <a:bodyPr/>
                  <a:lstStyle/>
                  <a:p>
                    <a:r>
                      <a:t>105.0</a:t>
                    </a:r>
                  </a:p>
                </c:rich>
              </c:tx>
              <c:showLegendKey val="0"/>
              <c:showVal val="1"/>
              <c:showCatName val="0"/>
              <c:showSerName val="0"/>
              <c:showPercent val="0"/>
              <c:showBubbleSize val="0"/>
            </c:dLbl>
            <c:dLbl>
              <c:idx val="23"/>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Crema 50+ 180Ml</c:v>
                </c:pt>
                <c:pt idx="5">
                  <c:v>Edgewell Banana Boat Dry Balance Sunscreen Adults Sport Spray Liquido 50 220Ml</c:v>
                </c:pt>
                <c:pt idx="6">
                  <c:v>Edgewell Banana Boat Mineral Sunscreen Adults Cosmetics Locion 50 60Ml</c:v>
                </c:pt>
                <c:pt idx="7">
                  <c:v>Edgewell Banana Boat Mineral Sunscreen Adults Sport Locion 50 180Ml</c:v>
                </c:pt>
                <c:pt idx="8">
                  <c:v>Edgewell Banana Boat Ultra Sunscreen Adults Sport Roll-On 60+ 75Ml</c:v>
                </c:pt>
                <c:pt idx="9">
                  <c:v>Edgewell Beauty Care Antioxidant Sunscreen Adults Cosmetics Liquido 15 - 19 100Ml</c:v>
                </c:pt>
                <c:pt idx="10">
                  <c:v>Edgewell Beauty Care Antioxidant Sunscreen Adults Cosmetics Liquido 50+ 50Ml</c:v>
                </c:pt>
                <c:pt idx="11">
                  <c:v>Edgewell Beauty Care Matte Sunscreen Adults Cosmetics Liquido 30 50Ml</c:v>
                </c:pt>
                <c:pt idx="12">
                  <c:v>Edgewell Beauty Care Sensitive Sunscreen Adults Cosmetics Liquido 50+ 50Ml</c:v>
                </c:pt>
                <c:pt idx="13">
                  <c:v>Edgewell Hawaiian Tropic Island Sport Sunscreen Adults Sport Liquido 50 60Ml</c:v>
                </c:pt>
                <c:pt idx="14">
                  <c:v>Edgewell Hawaiian Tropic Other Sunscreen Adults Cosmetics Crema 50+ 240Ml</c:v>
                </c:pt>
                <c:pt idx="15">
                  <c:v>Edgewell Hawaiian Tropic Ozono Sunscreen Adults Cosmetics Liquido 50+ 120Ml</c:v>
                </c:pt>
                <c:pt idx="16">
                  <c:v>Edgewell Hawaiian Tropic Ozono Sunscreen Adults Cosmetics Liquido 50+ 180Ml</c:v>
                </c:pt>
                <c:pt idx="17">
                  <c:v>Edgewell Hawaiian Tropic Ozono Sunscreen Adults Cosmetics Liquido 50+ 240Ml</c:v>
                </c:pt>
                <c:pt idx="18">
                  <c:v>Edgewell Hawaiian Tropic Ozono Sunscreen Adults Cosmetics Liquido 50+ 90Ml</c:v>
                </c:pt>
                <c:pt idx="19">
                  <c:v>Edgewell Hawaiian Tropic Ozono Sunscreen Adults Cosmetics Spray Liquido 50+ 180Ml</c:v>
                </c:pt>
                <c:pt idx="20">
                  <c:v>Edgewell Hawaiian Tropic Sheer Touch Sunscreen Adults Cosmetics Crema 30 - 49 240Ml</c:v>
                </c:pt>
                <c:pt idx="21">
                  <c:v>Edgewell Hawaiian Tropic Sheer Touch Sunscreen Adults Cosmetics Crema 50 120Ml</c:v>
                </c:pt>
                <c:pt idx="22">
                  <c:v>Edgewell Hawaiian Tropic Sheer Touch Sunscreen Adults Cosmetics Liquido 30 - 49 60Ml</c:v>
                </c:pt>
                <c:pt idx="23">
                  <c:v>Edgewell Hawaiian Tropic Tanning Sunscreen Adults Cosmetics Spray Liquido 15 - 19 220Ml</c:v>
                </c:pt>
              </c:strCache>
            </c:strRef>
          </c:cat>
          <c:val>
            <c:numRef>
              <c:f>Sheet1!$B$2:$B$25</c:f>
              <c:numCache>
                <c:formatCode>General</c:formatCode>
                <c:ptCount val="24"/>
                <c:pt idx="0">
                  <c:v>310.0</c:v>
                </c:pt>
                <c:pt idx="1">
                  <c:v>305.0</c:v>
                </c:pt>
                <c:pt idx="2">
                  <c:v>349.0</c:v>
                </c:pt>
                <c:pt idx="3">
                  <c:v>305.0</c:v>
                </c:pt>
                <c:pt idx="4">
                  <c:v>335.0</c:v>
                </c:pt>
                <c:pt idx="5">
                  <c:v>385.0</c:v>
                </c:pt>
                <c:pt idx="6">
                  <c:v>310.0</c:v>
                </c:pt>
                <c:pt idx="7">
                  <c:v>249.0</c:v>
                </c:pt>
                <c:pt idx="8">
                  <c:v>215.0</c:v>
                </c:pt>
                <c:pt idx="9">
                  <c:v>240.0</c:v>
                </c:pt>
                <c:pt idx="10">
                  <c:v>179.0</c:v>
                </c:pt>
                <c:pt idx="11">
                  <c:v>179.0</c:v>
                </c:pt>
                <c:pt idx="12">
                  <c:v>179.0</c:v>
                </c:pt>
                <c:pt idx="13">
                  <c:v>105.0</c:v>
                </c:pt>
                <c:pt idx="14">
                  <c:v>350.0</c:v>
                </c:pt>
                <c:pt idx="15">
                  <c:v>205.0</c:v>
                </c:pt>
                <c:pt idx="16">
                  <c:v>350.0</c:v>
                </c:pt>
                <c:pt idx="17">
                  <c:v>350.0</c:v>
                </c:pt>
                <c:pt idx="18">
                  <c:v>125.0</c:v>
                </c:pt>
                <c:pt idx="19">
                  <c:v>385.0</c:v>
                </c:pt>
                <c:pt idx="20">
                  <c:v>299.0</c:v>
                </c:pt>
                <c:pt idx="21">
                  <c:v>205.0</c:v>
                </c:pt>
                <c:pt idx="22">
                  <c:v>105.0</c:v>
                </c:pt>
                <c:pt idx="23">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7.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85.0</a:t>
                    </a:r>
                  </a:p>
                </c:rich>
              </c:tx>
              <c:showLegendKey val="0"/>
              <c:showVal val="1"/>
              <c:showCatName val="0"/>
              <c:showSerName val="0"/>
              <c:showPercent val="0"/>
              <c:showBubbleSize val="0"/>
            </c:dLbl>
            <c:dLbl>
              <c:idx val="5"/>
              <c:tx>
                <c:rich>
                  <a:bodyPr/>
                  <a:lstStyle/>
                  <a:p>
                    <a:r>
                      <a:t>310.0</a:t>
                    </a:r>
                  </a:p>
                </c:rich>
              </c:tx>
              <c:showLegendKey val="0"/>
              <c:showVal val="1"/>
              <c:showCatName val="0"/>
              <c:showSerName val="0"/>
              <c:showPercent val="0"/>
              <c:showBubbleSize val="0"/>
            </c:dLbl>
            <c:dLbl>
              <c:idx val="6"/>
              <c:tx>
                <c:rich>
                  <a:bodyPr/>
                  <a:lstStyle/>
                  <a:p>
                    <a:r>
                      <a:t>249.0</a:t>
                    </a:r>
                  </a:p>
                </c:rich>
              </c:tx>
              <c:showLegendKey val="0"/>
              <c:showVal val="1"/>
              <c:showCatName val="0"/>
              <c:showSerName val="0"/>
              <c:showPercent val="0"/>
              <c:showBubbleSize val="0"/>
            </c:dLbl>
            <c:dLbl>
              <c:idx val="7"/>
              <c:tx>
                <c:rich>
                  <a:bodyPr/>
                  <a:lstStyle/>
                  <a:p>
                    <a:r>
                      <a:t>240.0</a:t>
                    </a:r>
                  </a:p>
                </c:rich>
              </c:tx>
              <c:showLegendKey val="0"/>
              <c:showVal val="1"/>
              <c:showCatName val="0"/>
              <c:showSerName val="0"/>
              <c:showPercent val="0"/>
              <c:showBubbleSize val="0"/>
            </c:dLbl>
            <c:dLbl>
              <c:idx val="8"/>
              <c:tx>
                <c:rich>
                  <a:bodyPr/>
                  <a:lstStyle/>
                  <a:p>
                    <a:r>
                      <a:t>179.0</a:t>
                    </a:r>
                  </a:p>
                </c:rich>
              </c:tx>
              <c:showLegendKey val="0"/>
              <c:showVal val="1"/>
              <c:showCatName val="0"/>
              <c:showSerName val="0"/>
              <c:showPercent val="0"/>
              <c:showBubbleSize val="0"/>
            </c:dLbl>
            <c:dLbl>
              <c:idx val="9"/>
              <c:tx>
                <c:rich>
                  <a:bodyPr/>
                  <a:lstStyle/>
                  <a:p>
                    <a:r>
                      <a:t>179.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105.0</a:t>
                    </a:r>
                  </a:p>
                </c:rich>
              </c:tx>
              <c:showLegendKey val="0"/>
              <c:showVal val="1"/>
              <c:showCatName val="0"/>
              <c:showSerName val="0"/>
              <c:showPercent val="0"/>
              <c:showBubbleSize val="0"/>
            </c:dLbl>
            <c:dLbl>
              <c:idx val="12"/>
              <c:tx>
                <c:rich>
                  <a:bodyPr/>
                  <a:lstStyle/>
                  <a:p>
                    <a:r>
                      <a:t>350.0</a:t>
                    </a:r>
                  </a:p>
                </c:rich>
              </c:tx>
              <c:showLegendKey val="0"/>
              <c:showVal val="1"/>
              <c:showCatName val="0"/>
              <c:showSerName val="0"/>
              <c:showPercent val="0"/>
              <c:showBubbleSize val="0"/>
            </c:dLbl>
            <c:dLbl>
              <c:idx val="13"/>
              <c:tx>
                <c:rich>
                  <a:bodyPr/>
                  <a:lstStyle/>
                  <a:p>
                    <a:r>
                      <a:t>350.0</a:t>
                    </a:r>
                  </a:p>
                </c:rich>
              </c:tx>
              <c:showLegendKey val="0"/>
              <c:showVal val="1"/>
              <c:showCatName val="0"/>
              <c:showSerName val="0"/>
              <c:showPercent val="0"/>
              <c:showBubbleSize val="0"/>
            </c:dLbl>
            <c:dLbl>
              <c:idx val="14"/>
              <c:tx>
                <c:rich>
                  <a:bodyPr/>
                  <a:lstStyle/>
                  <a:p>
                    <a:r>
                      <a:t>350.0</a:t>
                    </a:r>
                  </a:p>
                </c:rich>
              </c:tx>
              <c:showLegendKey val="0"/>
              <c:showVal val="1"/>
              <c:showCatName val="0"/>
              <c:showSerName val="0"/>
              <c:showPercent val="0"/>
              <c:showBubbleSize val="0"/>
            </c:dLbl>
            <c:dLbl>
              <c:idx val="15"/>
              <c:tx>
                <c:rich>
                  <a:bodyPr/>
                  <a:lstStyle/>
                  <a:p>
                    <a:r>
                      <a:t>385.0</a:t>
                    </a:r>
                  </a:p>
                </c:rich>
              </c:tx>
              <c:showLegendKey val="0"/>
              <c:showVal val="1"/>
              <c:showCatName val="0"/>
              <c:showSerName val="0"/>
              <c:showPercent val="0"/>
              <c:showBubbleSize val="0"/>
            </c:dLbl>
            <c:dLbl>
              <c:idx val="16"/>
              <c:tx>
                <c:rich>
                  <a:bodyPr/>
                  <a:lstStyle/>
                  <a:p>
                    <a:r>
                      <a:t>205.0</a:t>
                    </a:r>
                  </a:p>
                </c:rich>
              </c:tx>
              <c:showLegendKey val="0"/>
              <c:showVal val="1"/>
              <c:showCatName val="0"/>
              <c:showSerName val="0"/>
              <c:showPercent val="0"/>
              <c:showBubbleSize val="0"/>
            </c:dLbl>
            <c:dLbl>
              <c:idx val="17"/>
              <c:tx>
                <c:rich>
                  <a:bodyPr/>
                  <a:lstStyle/>
                  <a:p>
                    <a:r>
                      <a:t>105.0</a:t>
                    </a:r>
                  </a:p>
                </c:rich>
              </c:tx>
              <c:showLegendKey val="0"/>
              <c:showVal val="1"/>
              <c:showCatName val="0"/>
              <c:showSerName val="0"/>
              <c:showPercent val="0"/>
              <c:showBubbleSize val="0"/>
            </c:dLbl>
            <c:dLbl>
              <c:idx val="18"/>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Spray Liquido 50 220Ml</c:v>
                </c:pt>
                <c:pt idx="5">
                  <c:v>Edgewell Banana Boat Mineral Sunscreen Adults Cosmetics Locion 50 60Ml</c:v>
                </c:pt>
                <c:pt idx="6">
                  <c:v>Edgewell Banana Boat Mineral Sunscreen Adults Sport Locion 50 180Ml</c:v>
                </c:pt>
                <c:pt idx="7">
                  <c:v>Edgewell Beauty Care Antioxidant Sunscreen Adults Cosmetics Liquido 15 - 19 100Ml</c:v>
                </c:pt>
                <c:pt idx="8">
                  <c:v>Edgewell Beauty Care Antioxidant Sunscreen Adults Cosmetics Liquido 50+ 50Ml</c:v>
                </c:pt>
                <c:pt idx="9">
                  <c:v>Edgewell Beauty Care Matte Sunscreen Adults Cosmetics Liquido 30 50Ml</c:v>
                </c:pt>
                <c:pt idx="10">
                  <c:v>Edgewell Beauty Care Sensitive Sunscreen Adults Cosmetics Liquido 50+ 50Ml</c:v>
                </c:pt>
                <c:pt idx="11">
                  <c:v>Edgewell Hawaiian Tropic Island Sport Sunscreen Adults Sport Liquido 50 60Ml</c:v>
                </c:pt>
                <c:pt idx="12">
                  <c:v>Edgewell Hawaiian Tropic Other Sunscreen Adults Cosmetics Crema 50+ 240Ml</c:v>
                </c:pt>
                <c:pt idx="13">
                  <c:v>Edgewell Hawaiian Tropic Ozono Sunscreen Adults Cosmetics Liquido 50+ 180Ml</c:v>
                </c:pt>
                <c:pt idx="14">
                  <c:v>Edgewell Hawaiian Tropic Ozono Sunscreen Adults Cosmetics Liquido 50+ 240Ml</c:v>
                </c:pt>
                <c:pt idx="15">
                  <c:v>Edgewell Hawaiian Tropic Ozono Sunscreen Adults Cosmetics Spray Liquido 50+ 180Ml</c:v>
                </c:pt>
                <c:pt idx="16">
                  <c:v>Edgewell Hawaiian Tropic Sheer Touch Sunscreen Adults Cosmetics Crema 50 120Ml</c:v>
                </c:pt>
                <c:pt idx="17">
                  <c:v>Edgewell Hawaiian Tropic Sheer Touch Sunscreen Adults Cosmetics Liquido 30 - 49 60Ml</c:v>
                </c:pt>
                <c:pt idx="18">
                  <c:v>Edgewell Hawaiian Tropic Tanning Sunscreen Adults Cosmetics Spray Liquido 15 - 19 220Ml</c:v>
                </c:pt>
              </c:strCache>
            </c:strRef>
          </c:cat>
          <c:val>
            <c:numRef>
              <c:f>Sheet1!$B$2:$B$20</c:f>
              <c:numCache>
                <c:formatCode>General</c:formatCode>
                <c:ptCount val="19"/>
                <c:pt idx="0">
                  <c:v>310.0</c:v>
                </c:pt>
                <c:pt idx="1">
                  <c:v>305.0</c:v>
                </c:pt>
                <c:pt idx="2">
                  <c:v>349.0</c:v>
                </c:pt>
                <c:pt idx="3">
                  <c:v>305.0</c:v>
                </c:pt>
                <c:pt idx="4">
                  <c:v>385.0</c:v>
                </c:pt>
                <c:pt idx="5">
                  <c:v>310.0</c:v>
                </c:pt>
                <c:pt idx="6">
                  <c:v>249.0</c:v>
                </c:pt>
                <c:pt idx="7">
                  <c:v>240.0</c:v>
                </c:pt>
                <c:pt idx="8">
                  <c:v>179.0</c:v>
                </c:pt>
                <c:pt idx="9">
                  <c:v>179.0</c:v>
                </c:pt>
                <c:pt idx="10">
                  <c:v>179.0</c:v>
                </c:pt>
                <c:pt idx="11">
                  <c:v>105.0</c:v>
                </c:pt>
                <c:pt idx="12">
                  <c:v>350.0</c:v>
                </c:pt>
                <c:pt idx="13">
                  <c:v>350.0</c:v>
                </c:pt>
                <c:pt idx="14">
                  <c:v>350.0</c:v>
                </c:pt>
                <c:pt idx="15">
                  <c:v>385.0</c:v>
                </c:pt>
                <c:pt idx="16">
                  <c:v>205.0</c:v>
                </c:pt>
                <c:pt idx="17">
                  <c:v>105.0</c:v>
                </c:pt>
                <c:pt idx="18">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85.0</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dLbl>
              <c:idx val="1"/>
              <c:tx>
                <c:rich>
                  <a:bodyPr/>
                  <a:lstStyle/>
                  <a:p>
                    <a:r>
                      <a:t>629.0</a:t>
                    </a:r>
                  </a:p>
                </c:rich>
              </c:tx>
              <c:showLegendKey val="0"/>
              <c:showVal val="1"/>
              <c:showCatName val="0"/>
              <c:showSerName val="0"/>
              <c:showPercent val="0"/>
              <c:showBubbleSize val="0"/>
            </c:dLbl>
            <c:dLbl>
              <c:idx val="2"/>
              <c:tx>
                <c:rich>
                  <a:bodyPr/>
                  <a:lstStyle/>
                  <a:p>
                    <a:r>
                      <a:t>278.0</a:t>
                    </a:r>
                  </a:p>
                </c:rich>
              </c:tx>
              <c:showLegendKey val="0"/>
              <c:showVal val="1"/>
              <c:showCatName val="0"/>
              <c:showSerName val="0"/>
              <c:showPercent val="0"/>
              <c:showBubbleSize val="0"/>
            </c:dLbl>
            <c:dLbl>
              <c:idx val="3"/>
              <c:tx>
                <c:rich>
                  <a:bodyPr/>
                  <a:lstStyle/>
                  <a:p>
                    <a:r>
                      <a:t>60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Tanning Tanning Adults Cosmetics Spray Aceite 0 - 5 237Ml</c:v>
                </c:pt>
                <c:pt idx="1">
                  <c:v>Australian Gold Australian Gold Tanning Adults Cosmetics Locion 30 237Ml</c:v>
                </c:pt>
                <c:pt idx="2">
                  <c:v>Beiersdorf Nivea Tanning Adults Cosmetics Aceite 6 - 9 200Ml</c:v>
                </c:pt>
                <c:pt idx="3">
                  <c:v>Others Fabricante Unif. Others Marca Unif. Tanning Adults Cosmetics Spray Liquido 0 - 5 177Ml</c:v>
                </c:pt>
              </c:strCache>
            </c:strRef>
          </c:cat>
          <c:val>
            <c:numRef>
              <c:f>Sheet1!$B$2:$B$5</c:f>
              <c:numCache>
                <c:formatCode>General</c:formatCode>
                <c:ptCount val="4"/>
                <c:pt idx="0">
                  <c:v>279.0</c:v>
                </c:pt>
                <c:pt idx="1">
                  <c:v>629.0</c:v>
                </c:pt>
                <c:pt idx="2">
                  <c:v>278.0</c:v>
                </c:pt>
                <c:pt idx="3">
                  <c:v>60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240.0</a:t>
                    </a:r>
                  </a:p>
                </c:rich>
              </c:tx>
              <c:showLegendKey val="0"/>
              <c:showVal val="1"/>
              <c:showCatName val="0"/>
              <c:showSerName val="0"/>
              <c:showPercent val="0"/>
              <c:showBubbleSize val="0"/>
            </c:dLbl>
            <c:dLbl>
              <c:idx val="9"/>
              <c:tx>
                <c:rich>
                  <a:bodyPr/>
                  <a:lstStyle/>
                  <a:p>
                    <a:r>
                      <a:t>179.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05.0</a:t>
                    </a:r>
                  </a:p>
                </c:rich>
              </c:tx>
              <c:showLegendKey val="0"/>
              <c:showVal val="1"/>
              <c:showCatName val="0"/>
              <c:showSerName val="0"/>
              <c:showPercent val="0"/>
              <c:showBubbleSize val="0"/>
            </c:dLbl>
            <c:dLbl>
              <c:idx val="13"/>
              <c:tx>
                <c:rich>
                  <a:bodyPr/>
                  <a:lstStyle/>
                  <a:p>
                    <a:r>
                      <a:t>350.0</a:t>
                    </a:r>
                  </a:p>
                </c:rich>
              </c:tx>
              <c:showLegendKey val="0"/>
              <c:showVal val="1"/>
              <c:showCatName val="0"/>
              <c:showSerName val="0"/>
              <c:showPercent val="0"/>
              <c:showBubbleSize val="0"/>
            </c:dLbl>
            <c:dLbl>
              <c:idx val="14"/>
              <c:tx>
                <c:rich>
                  <a:bodyPr/>
                  <a:lstStyle/>
                  <a:p>
                    <a:r>
                      <a:t>205.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350.0</a:t>
                    </a:r>
                  </a:p>
                </c:rich>
              </c:tx>
              <c:showLegendKey val="0"/>
              <c:showVal val="1"/>
              <c:showCatName val="0"/>
              <c:showSerName val="0"/>
              <c:showPercent val="0"/>
              <c:showBubbleSize val="0"/>
            </c:dLbl>
            <c:dLbl>
              <c:idx val="17"/>
              <c:tx>
                <c:rich>
                  <a:bodyPr/>
                  <a:lstStyle/>
                  <a:p>
                    <a:r>
                      <a:t>125.0</a:t>
                    </a:r>
                  </a:p>
                </c:rich>
              </c:tx>
              <c:showLegendKey val="0"/>
              <c:showVal val="1"/>
              <c:showCatName val="0"/>
              <c:showSerName val="0"/>
              <c:showPercent val="0"/>
              <c:showBubbleSize val="0"/>
            </c:dLbl>
            <c:dLbl>
              <c:idx val="18"/>
              <c:tx>
                <c:rich>
                  <a:bodyPr/>
                  <a:lstStyle/>
                  <a:p>
                    <a:r>
                      <a:t>385.0</a:t>
                    </a:r>
                  </a:p>
                </c:rich>
              </c:tx>
              <c:showLegendKey val="0"/>
              <c:showVal val="1"/>
              <c:showCatName val="0"/>
              <c:showSerName val="0"/>
              <c:showPercent val="0"/>
              <c:showBubbleSize val="0"/>
            </c:dLbl>
            <c:dLbl>
              <c:idx val="19"/>
              <c:tx>
                <c:rich>
                  <a:bodyPr/>
                  <a:lstStyle/>
                  <a:p>
                    <a:r>
                      <a:t>299.0</a:t>
                    </a:r>
                  </a:p>
                </c:rich>
              </c:tx>
              <c:showLegendKey val="0"/>
              <c:showVal val="1"/>
              <c:showCatName val="0"/>
              <c:showSerName val="0"/>
              <c:showPercent val="0"/>
              <c:showBubbleSize val="0"/>
            </c:dLbl>
            <c:dLbl>
              <c:idx val="20"/>
              <c:tx>
                <c:rich>
                  <a:bodyPr/>
                  <a:lstStyle/>
                  <a:p>
                    <a:r>
                      <a:t>205.0</a:t>
                    </a:r>
                  </a:p>
                </c:rich>
              </c:tx>
              <c:showLegendKey val="0"/>
              <c:showVal val="1"/>
              <c:showCatName val="0"/>
              <c:showSerName val="0"/>
              <c:showPercent val="0"/>
              <c:showBubbleSize val="0"/>
            </c:dLbl>
            <c:dLbl>
              <c:idx val="21"/>
              <c:tx>
                <c:rich>
                  <a:bodyPr/>
                  <a:lstStyle/>
                  <a:p>
                    <a:r>
                      <a:t>105.0</a:t>
                    </a:r>
                  </a:p>
                </c:rich>
              </c:tx>
              <c:showLegendKey val="0"/>
              <c:showVal val="1"/>
              <c:showCatName val="0"/>
              <c:showSerName val="0"/>
              <c:showPercent val="0"/>
              <c:showBubbleSize val="0"/>
            </c:dLbl>
            <c:dLbl>
              <c:idx val="2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Crema 50+ 180Ml</c:v>
                </c:pt>
                <c:pt idx="5">
                  <c:v>Edgewell Banana Boat Dry Balance Sunscreen Adults Sport Spray Liquido 50 220Ml</c:v>
                </c:pt>
                <c:pt idx="6">
                  <c:v>Edgewell Banana Boat Mineral Sunscreen Adults Cosmetics Locion 50 60Ml</c:v>
                </c:pt>
                <c:pt idx="7">
                  <c:v>Edgewell Banana Boat Mineral Sunscreen Adults Sport Locion 50 180Ml</c:v>
                </c:pt>
                <c:pt idx="8">
                  <c:v>Edgewell Beauty Care Antioxidant Sunscreen Adults Cosmetics Liquido 15 - 19 100Ml</c:v>
                </c:pt>
                <c:pt idx="9">
                  <c:v>Edgewell Beauty Care Antioxidant Sunscreen Adults Cosmetics Liquido 50+ 50Ml</c:v>
                </c:pt>
                <c:pt idx="10">
                  <c:v>Edgewell Beauty Care Matte Sunscreen Adults Cosmetics Liquido 30 50Ml</c:v>
                </c:pt>
                <c:pt idx="11">
                  <c:v>Edgewell Beauty Care Sensitive Sunscreen Adults Cosmetics Liquido 50+ 50Ml</c:v>
                </c:pt>
                <c:pt idx="12">
                  <c:v>Edgewell Hawaiian Tropic Island Sport Sunscreen Adults Sport Liquido 50 60Ml</c:v>
                </c:pt>
                <c:pt idx="13">
                  <c:v>Edgewell Hawaiian Tropic Other Sunscreen Adults Cosmetics Crema 50+ 240Ml</c:v>
                </c:pt>
                <c:pt idx="14">
                  <c:v>Edgewell Hawaiian Tropic Ozono Sunscreen Adults Cosmetics Liquido 50+ 120Ml</c:v>
                </c:pt>
                <c:pt idx="15">
                  <c:v>Edgewell Hawaiian Tropic Ozono Sunscreen Adults Cosmetics Liquido 50+ 180Ml</c:v>
                </c:pt>
                <c:pt idx="16">
                  <c:v>Edgewell Hawaiian Tropic Ozono Sunscreen Adults Cosmetics Liquido 50+ 240Ml</c:v>
                </c:pt>
                <c:pt idx="17">
                  <c:v>Edgewell Hawaiian Tropic Ozono Sunscreen Adults Cosmetics Liquido 50+ 90Ml</c:v>
                </c:pt>
                <c:pt idx="18">
                  <c:v>Edgewell Hawaiian Tropic Ozono Sunscreen Adults Cosmetics Spray Liquido 50+ 180Ml</c:v>
                </c:pt>
                <c:pt idx="19">
                  <c:v>Edgewell Hawaiian Tropic Sheer Touch Sunscreen Adults Cosmetics Crema 30 - 49 240Ml</c:v>
                </c:pt>
                <c:pt idx="20">
                  <c:v>Edgewell Hawaiian Tropic Sheer Touch Sunscreen Adults Cosmetics Crema 50 120Ml</c:v>
                </c:pt>
                <c:pt idx="21">
                  <c:v>Edgewell Hawaiian Tropic Sheer Touch Sunscreen Adults Cosmetics Liquido 30 - 49 60Ml</c:v>
                </c:pt>
                <c:pt idx="22">
                  <c:v>Edgewell Hawaiian Tropic Tanning Sunscreen Adults Cosmetics Spray Liquido 15 - 19 220Ml</c:v>
                </c:pt>
              </c:strCache>
            </c:strRef>
          </c:cat>
          <c:val>
            <c:numRef>
              <c:f>Sheet1!$B$2:$B$24</c:f>
              <c:numCache>
                <c:formatCode>General</c:formatCode>
                <c:ptCount val="23"/>
                <c:pt idx="0">
                  <c:v>310.0</c:v>
                </c:pt>
                <c:pt idx="1">
                  <c:v>305.0</c:v>
                </c:pt>
                <c:pt idx="2">
                  <c:v>349.0</c:v>
                </c:pt>
                <c:pt idx="3">
                  <c:v>305.0</c:v>
                </c:pt>
                <c:pt idx="4">
                  <c:v>335.0</c:v>
                </c:pt>
                <c:pt idx="5">
                  <c:v>385.0</c:v>
                </c:pt>
                <c:pt idx="6">
                  <c:v>310.0</c:v>
                </c:pt>
                <c:pt idx="7">
                  <c:v>249.0</c:v>
                </c:pt>
                <c:pt idx="8">
                  <c:v>240.0</c:v>
                </c:pt>
                <c:pt idx="9">
                  <c:v>179.0</c:v>
                </c:pt>
                <c:pt idx="10">
                  <c:v>179.0</c:v>
                </c:pt>
                <c:pt idx="11">
                  <c:v>179.0</c:v>
                </c:pt>
                <c:pt idx="12">
                  <c:v>105.0</c:v>
                </c:pt>
                <c:pt idx="13">
                  <c:v>350.0</c:v>
                </c:pt>
                <c:pt idx="14">
                  <c:v>205.0</c:v>
                </c:pt>
                <c:pt idx="15">
                  <c:v>350.0</c:v>
                </c:pt>
                <c:pt idx="16">
                  <c:v>350.0</c:v>
                </c:pt>
                <c:pt idx="17">
                  <c:v>125.0</c:v>
                </c:pt>
                <c:pt idx="18">
                  <c:v>385.0</c:v>
                </c:pt>
                <c:pt idx="19">
                  <c:v>299.0</c:v>
                </c:pt>
                <c:pt idx="20">
                  <c:v>205.0</c:v>
                </c:pt>
                <c:pt idx="21">
                  <c:v>105.0</c:v>
                </c:pt>
                <c:pt idx="2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85.0</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215.0</a:t>
                    </a:r>
                  </a:p>
                </c:rich>
              </c:tx>
              <c:showLegendKey val="0"/>
              <c:showVal val="1"/>
              <c:showCatName val="0"/>
              <c:showSerName val="0"/>
              <c:showPercent val="0"/>
              <c:showBubbleSize val="0"/>
            </c:dLbl>
            <c:dLbl>
              <c:idx val="9"/>
              <c:tx>
                <c:rich>
                  <a:bodyPr/>
                  <a:lstStyle/>
                  <a:p>
                    <a:r>
                      <a:t>179.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05.0</a:t>
                    </a:r>
                  </a:p>
                </c:rich>
              </c:tx>
              <c:showLegendKey val="0"/>
              <c:showVal val="1"/>
              <c:showCatName val="0"/>
              <c:showSerName val="0"/>
              <c:showPercent val="0"/>
              <c:showBubbleSize val="0"/>
            </c:dLbl>
            <c:dLbl>
              <c:idx val="13"/>
              <c:tx>
                <c:rich>
                  <a:bodyPr/>
                  <a:lstStyle/>
                  <a:p>
                    <a:r>
                      <a:t>350.0</a:t>
                    </a:r>
                  </a:p>
                </c:rich>
              </c:tx>
              <c:showLegendKey val="0"/>
              <c:showVal val="1"/>
              <c:showCatName val="0"/>
              <c:showSerName val="0"/>
              <c:showPercent val="0"/>
              <c:showBubbleSize val="0"/>
            </c:dLbl>
            <c:dLbl>
              <c:idx val="14"/>
              <c:tx>
                <c:rich>
                  <a:bodyPr/>
                  <a:lstStyle/>
                  <a:p>
                    <a:r>
                      <a:t>205.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350.0</a:t>
                    </a:r>
                  </a:p>
                </c:rich>
              </c:tx>
              <c:showLegendKey val="0"/>
              <c:showVal val="1"/>
              <c:showCatName val="0"/>
              <c:showSerName val="0"/>
              <c:showPercent val="0"/>
              <c:showBubbleSize val="0"/>
            </c:dLbl>
            <c:dLbl>
              <c:idx val="17"/>
              <c:tx>
                <c:rich>
                  <a:bodyPr/>
                  <a:lstStyle/>
                  <a:p>
                    <a:r>
                      <a:t>125.0</a:t>
                    </a:r>
                  </a:p>
                </c:rich>
              </c:tx>
              <c:showLegendKey val="0"/>
              <c:showVal val="1"/>
              <c:showCatName val="0"/>
              <c:showSerName val="0"/>
              <c:showPercent val="0"/>
              <c:showBubbleSize val="0"/>
            </c:dLbl>
            <c:dLbl>
              <c:idx val="18"/>
              <c:tx>
                <c:rich>
                  <a:bodyPr/>
                  <a:lstStyle/>
                  <a:p>
                    <a:r>
                      <a:t>385.0</a:t>
                    </a:r>
                  </a:p>
                </c:rich>
              </c:tx>
              <c:showLegendKey val="0"/>
              <c:showVal val="1"/>
              <c:showCatName val="0"/>
              <c:showSerName val="0"/>
              <c:showPercent val="0"/>
              <c:showBubbleSize val="0"/>
            </c:dLbl>
            <c:dLbl>
              <c:idx val="19"/>
              <c:tx>
                <c:rich>
                  <a:bodyPr/>
                  <a:lstStyle/>
                  <a:p>
                    <a:r>
                      <a:t>299.0</a:t>
                    </a:r>
                  </a:p>
                </c:rich>
              </c:tx>
              <c:showLegendKey val="0"/>
              <c:showVal val="1"/>
              <c:showCatName val="0"/>
              <c:showSerName val="0"/>
              <c:showPercent val="0"/>
              <c:showBubbleSize val="0"/>
            </c:dLbl>
            <c:dLbl>
              <c:idx val="20"/>
              <c:tx>
                <c:rich>
                  <a:bodyPr/>
                  <a:lstStyle/>
                  <a:p>
                    <a:r>
                      <a:t>205.0</a:t>
                    </a:r>
                  </a:p>
                </c:rich>
              </c:tx>
              <c:showLegendKey val="0"/>
              <c:showVal val="1"/>
              <c:showCatName val="0"/>
              <c:showSerName val="0"/>
              <c:showPercent val="0"/>
              <c:showBubbleSize val="0"/>
            </c:dLbl>
            <c:dLbl>
              <c:idx val="21"/>
              <c:tx>
                <c:rich>
                  <a:bodyPr/>
                  <a:lstStyle/>
                  <a:p>
                    <a:r>
                      <a:t>105.0</a:t>
                    </a:r>
                  </a:p>
                </c:rich>
              </c:tx>
              <c:showLegendKey val="0"/>
              <c:showVal val="1"/>
              <c:showCatName val="0"/>
              <c:showSerName val="0"/>
              <c:showPercent val="0"/>
              <c:showBubbleSize val="0"/>
            </c:dLbl>
            <c:dLbl>
              <c:idx val="2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Crema 50+ 180Ml</c:v>
                </c:pt>
                <c:pt idx="5">
                  <c:v>Edgewell Banana Boat Dry Balance Sunscreen Adults Sport Spray Liquido 50 220Ml</c:v>
                </c:pt>
                <c:pt idx="6">
                  <c:v>Edgewell Banana Boat Mineral Sunscreen Adults Cosmetics Locion 50 60Ml</c:v>
                </c:pt>
                <c:pt idx="7">
                  <c:v>Edgewell Banana Boat Mineral Sunscreen Adults Sport Locion 50 180Ml</c:v>
                </c:pt>
                <c:pt idx="8">
                  <c:v>Edgewell Banana Boat Ultra Sunscreen Adults Sport Roll-On 60+ 75Ml</c:v>
                </c:pt>
                <c:pt idx="9">
                  <c:v>Edgewell Beauty Care Antioxidant Sunscreen Adults Cosmetics Liquido 50+ 50Ml</c:v>
                </c:pt>
                <c:pt idx="10">
                  <c:v>Edgewell Beauty Care Matte Sunscreen Adults Cosmetics Liquido 30 50Ml</c:v>
                </c:pt>
                <c:pt idx="11">
                  <c:v>Edgewell Beauty Care Sensitive Sunscreen Adults Cosmetics Liquido 50+ 50Ml</c:v>
                </c:pt>
                <c:pt idx="12">
                  <c:v>Edgewell Hawaiian Tropic Island Sport Sunscreen Adults Sport Liquido 50 60Ml</c:v>
                </c:pt>
                <c:pt idx="13">
                  <c:v>Edgewell Hawaiian Tropic Other Sunscreen Adults Cosmetics Crema 50+ 240Ml</c:v>
                </c:pt>
                <c:pt idx="14">
                  <c:v>Edgewell Hawaiian Tropic Ozono Sunscreen Adults Cosmetics Liquido 50+ 120Ml</c:v>
                </c:pt>
                <c:pt idx="15">
                  <c:v>Edgewell Hawaiian Tropic Ozono Sunscreen Adults Cosmetics Liquido 50+ 180Ml</c:v>
                </c:pt>
                <c:pt idx="16">
                  <c:v>Edgewell Hawaiian Tropic Ozono Sunscreen Adults Cosmetics Liquido 50+ 240Ml</c:v>
                </c:pt>
                <c:pt idx="17">
                  <c:v>Edgewell Hawaiian Tropic Ozono Sunscreen Adults Cosmetics Liquido 50+ 90Ml</c:v>
                </c:pt>
                <c:pt idx="18">
                  <c:v>Edgewell Hawaiian Tropic Ozono Sunscreen Adults Cosmetics Spray Liquido 50+ 180Ml</c:v>
                </c:pt>
                <c:pt idx="19">
                  <c:v>Edgewell Hawaiian Tropic Sheer Touch Sunscreen Adults Cosmetics Crema 30 - 49 240Ml</c:v>
                </c:pt>
                <c:pt idx="20">
                  <c:v>Edgewell Hawaiian Tropic Sheer Touch Sunscreen Adults Cosmetics Crema 50 120Ml</c:v>
                </c:pt>
                <c:pt idx="21">
                  <c:v>Edgewell Hawaiian Tropic Sheer Touch Sunscreen Adults Cosmetics Liquido 30 - 49 60Ml</c:v>
                </c:pt>
                <c:pt idx="22">
                  <c:v>Edgewell Hawaiian Tropic Tanning Sunscreen Adults Cosmetics Spray Liquido 15 - 19 220Ml</c:v>
                </c:pt>
              </c:strCache>
            </c:strRef>
          </c:cat>
          <c:val>
            <c:numRef>
              <c:f>Sheet1!$B$2:$B$24</c:f>
              <c:numCache>
                <c:formatCode>General</c:formatCode>
                <c:ptCount val="23"/>
                <c:pt idx="0">
                  <c:v>310.0</c:v>
                </c:pt>
                <c:pt idx="1">
                  <c:v>305.0</c:v>
                </c:pt>
                <c:pt idx="2">
                  <c:v>349.0</c:v>
                </c:pt>
                <c:pt idx="3">
                  <c:v>305.0</c:v>
                </c:pt>
                <c:pt idx="4">
                  <c:v>335.0</c:v>
                </c:pt>
                <c:pt idx="5">
                  <c:v>385.0</c:v>
                </c:pt>
                <c:pt idx="6">
                  <c:v>310.0</c:v>
                </c:pt>
                <c:pt idx="7">
                  <c:v>249.0</c:v>
                </c:pt>
                <c:pt idx="8">
                  <c:v>215.0</c:v>
                </c:pt>
                <c:pt idx="9">
                  <c:v>179.0</c:v>
                </c:pt>
                <c:pt idx="10">
                  <c:v>179.0</c:v>
                </c:pt>
                <c:pt idx="11">
                  <c:v>179.0</c:v>
                </c:pt>
                <c:pt idx="12">
                  <c:v>105.0</c:v>
                </c:pt>
                <c:pt idx="13">
                  <c:v>350.0</c:v>
                </c:pt>
                <c:pt idx="14">
                  <c:v>205.0</c:v>
                </c:pt>
                <c:pt idx="15">
                  <c:v>350.0</c:v>
                </c:pt>
                <c:pt idx="16">
                  <c:v>350.0</c:v>
                </c:pt>
                <c:pt idx="17">
                  <c:v>125.0</c:v>
                </c:pt>
                <c:pt idx="18">
                  <c:v>385.0</c:v>
                </c:pt>
                <c:pt idx="19">
                  <c:v>299.0</c:v>
                </c:pt>
                <c:pt idx="20">
                  <c:v>205.0</c:v>
                </c:pt>
                <c:pt idx="21">
                  <c:v>105.0</c:v>
                </c:pt>
                <c:pt idx="2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7.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50.0</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7.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179.0</a:t>
                    </a:r>
                  </a:p>
                </c:rich>
              </c:tx>
              <c:showLegendKey val="0"/>
              <c:showVal val="1"/>
              <c:showCatName val="0"/>
              <c:showSerName val="0"/>
              <c:showPercent val="0"/>
              <c:showBubbleSize val="0"/>
            </c:dLbl>
            <c:dLbl>
              <c:idx val="8"/>
              <c:tx>
                <c:rich>
                  <a:bodyPr/>
                  <a:lstStyle/>
                  <a:p>
                    <a:r>
                      <a:t>179.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50.0</a:t>
                    </a:r>
                  </a:p>
                </c:rich>
              </c:tx>
              <c:showLegendKey val="0"/>
              <c:showVal val="1"/>
              <c:showCatName val="0"/>
              <c:showSerName val="0"/>
              <c:showPercent val="0"/>
              <c:showBubbleSize val="0"/>
            </c:dLbl>
            <c:dLbl>
              <c:idx val="11"/>
              <c:tx>
                <c:rich>
                  <a:bodyPr/>
                  <a:lstStyle/>
                  <a:p>
                    <a:r>
                      <a:t>205.0</a:t>
                    </a:r>
                  </a:p>
                </c:rich>
              </c:tx>
              <c:showLegendKey val="0"/>
              <c:showVal val="1"/>
              <c:showCatName val="0"/>
              <c:showSerName val="0"/>
              <c:showPercent val="0"/>
              <c:showBubbleSize val="0"/>
            </c:dLbl>
            <c:dLbl>
              <c:idx val="12"/>
              <c:tx>
                <c:rich>
                  <a:bodyPr/>
                  <a:lstStyle/>
                  <a:p>
                    <a:r>
                      <a:t>350.0</a:t>
                    </a:r>
                  </a:p>
                </c:rich>
              </c:tx>
              <c:showLegendKey val="0"/>
              <c:showVal val="1"/>
              <c:showCatName val="0"/>
              <c:showSerName val="0"/>
              <c:showPercent val="0"/>
              <c:showBubbleSize val="0"/>
            </c:dLbl>
            <c:dLbl>
              <c:idx val="13"/>
              <c:tx>
                <c:rich>
                  <a:bodyPr/>
                  <a:lstStyle/>
                  <a:p>
                    <a:r>
                      <a:t>125.0</a:t>
                    </a:r>
                  </a:p>
                </c:rich>
              </c:tx>
              <c:showLegendKey val="0"/>
              <c:showVal val="1"/>
              <c:showCatName val="0"/>
              <c:showSerName val="0"/>
              <c:showPercent val="0"/>
              <c:showBubbleSize val="0"/>
            </c:dLbl>
            <c:dLbl>
              <c:idx val="14"/>
              <c:tx>
                <c:rich>
                  <a:bodyPr/>
                  <a:lstStyle/>
                  <a:p>
                    <a:r>
                      <a:t>385.0</a:t>
                    </a:r>
                  </a:p>
                </c:rich>
              </c:tx>
              <c:showLegendKey val="0"/>
              <c:showVal val="1"/>
              <c:showCatName val="0"/>
              <c:showSerName val="0"/>
              <c:showPercent val="0"/>
              <c:showBubbleSize val="0"/>
            </c:dLbl>
            <c:dLbl>
              <c:idx val="15"/>
              <c:tx>
                <c:rich>
                  <a:bodyPr/>
                  <a:lstStyle/>
                  <a:p>
                    <a:r>
                      <a:t>299.0</a:t>
                    </a:r>
                  </a:p>
                </c:rich>
              </c:tx>
              <c:showLegendKey val="0"/>
              <c:showVal val="1"/>
              <c:showCatName val="0"/>
              <c:showSerName val="0"/>
              <c:showPercent val="0"/>
              <c:showBubbleSize val="0"/>
            </c:dLbl>
            <c:dLbl>
              <c:idx val="16"/>
              <c:tx>
                <c:rich>
                  <a:bodyPr/>
                  <a:lstStyle/>
                  <a:p>
                    <a:r>
                      <a:t>205.0</a:t>
                    </a:r>
                  </a:p>
                </c:rich>
              </c:tx>
              <c:showLegendKey val="0"/>
              <c:showVal val="1"/>
              <c:showCatName val="0"/>
              <c:showSerName val="0"/>
              <c:showPercent val="0"/>
              <c:showBubbleSize val="0"/>
            </c:dLbl>
            <c:dLbl>
              <c:idx val="17"/>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Crema 50+ 180Ml</c:v>
                </c:pt>
                <c:pt idx="5">
                  <c:v>Edgewell Banana Boat Dry Balance Sunscreen Adults Sport Spray Liquido 50 220Ml</c:v>
                </c:pt>
                <c:pt idx="6">
                  <c:v>Edgewell Banana Boat Mineral Sunscreen Adults Cosmetics Locion 50 60Ml</c:v>
                </c:pt>
                <c:pt idx="7">
                  <c:v>Edgewell Beauty Care Antioxidant Sunscreen Adults Cosmetics Liquido 50+ 50Ml</c:v>
                </c:pt>
                <c:pt idx="8">
                  <c:v>Edgewell Beauty Care Sensitive Sunscreen Adults Cosmetics Liquido 50+ 50Ml</c:v>
                </c:pt>
                <c:pt idx="9">
                  <c:v>Edgewell Hawaiian Tropic Island Sport Sunscreen Adults Sport Liquido 50 60Ml</c:v>
                </c:pt>
                <c:pt idx="10">
                  <c:v>Edgewell Hawaiian Tropic Other Sunscreen Adults Cosmetics Crema 50+ 240Ml</c:v>
                </c:pt>
                <c:pt idx="11">
                  <c:v>Edgewell Hawaiian Tropic Ozono Sunscreen Adults Cosmetics Liquido 50+ 120Ml</c:v>
                </c:pt>
                <c:pt idx="12">
                  <c:v>Edgewell Hawaiian Tropic Ozono Sunscreen Adults Cosmetics Liquido 50+ 240Ml</c:v>
                </c:pt>
                <c:pt idx="13">
                  <c:v>Edgewell Hawaiian Tropic Ozono Sunscreen Adults Cosmetics Liquido 50+ 90Ml</c:v>
                </c:pt>
                <c:pt idx="14">
                  <c:v>Edgewell Hawaiian Tropic Ozono Sunscreen Adults Cosmetics Spray Liquido 50+ 180Ml</c:v>
                </c:pt>
                <c:pt idx="15">
                  <c:v>Edgewell Hawaiian Tropic Sheer Touch Sunscreen Adults Cosmetics Crema 30 - 49 240Ml</c:v>
                </c:pt>
                <c:pt idx="16">
                  <c:v>Edgewell Hawaiian Tropic Sheer Touch Sunscreen Adults Cosmetics Crema 50 120Ml</c:v>
                </c:pt>
                <c:pt idx="17">
                  <c:v>Edgewell Hawaiian Tropic Sheer Touch Sunscreen Adults Cosmetics Liquido 30 - 49 60Ml</c:v>
                </c:pt>
              </c:strCache>
            </c:strRef>
          </c:cat>
          <c:val>
            <c:numRef>
              <c:f>Sheet1!$B$2:$B$19</c:f>
              <c:numCache>
                <c:formatCode>General</c:formatCode>
                <c:ptCount val="18"/>
                <c:pt idx="0">
                  <c:v>310.0</c:v>
                </c:pt>
                <c:pt idx="1">
                  <c:v>305.0</c:v>
                </c:pt>
                <c:pt idx="2">
                  <c:v>349.0</c:v>
                </c:pt>
                <c:pt idx="3">
                  <c:v>305.0</c:v>
                </c:pt>
                <c:pt idx="4">
                  <c:v>335.0</c:v>
                </c:pt>
                <c:pt idx="5">
                  <c:v>385.0</c:v>
                </c:pt>
                <c:pt idx="6">
                  <c:v>310.0</c:v>
                </c:pt>
                <c:pt idx="7">
                  <c:v>179.0</c:v>
                </c:pt>
                <c:pt idx="8">
                  <c:v>179.0</c:v>
                </c:pt>
                <c:pt idx="9">
                  <c:v>105.0</c:v>
                </c:pt>
                <c:pt idx="10">
                  <c:v>350.0</c:v>
                </c:pt>
                <c:pt idx="11">
                  <c:v>205.0</c:v>
                </c:pt>
                <c:pt idx="12">
                  <c:v>350.0</c:v>
                </c:pt>
                <c:pt idx="13">
                  <c:v>125.0</c:v>
                </c:pt>
                <c:pt idx="14">
                  <c:v>385.0</c:v>
                </c:pt>
                <c:pt idx="15">
                  <c:v>299.0</c:v>
                </c:pt>
                <c:pt idx="16">
                  <c:v>205.0</c:v>
                </c:pt>
                <c:pt idx="17">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Banded Pack Banded Pack 2X Sunscreen Multi 50+ 170Ml</c:v>
                </c:pt>
                <c:pt idx="1">
                  <c:v>Edgewell Banana Boat Banded Pack Banded Pack 2X Sunscreen Multi 50+ 236Ml</c:v>
                </c:pt>
                <c:pt idx="2">
                  <c:v>Edgewell Banana Boat Kids Sport Sunscreen Kids Cosmetics Crema 50 180Ml</c:v>
                </c:pt>
              </c:strCache>
            </c:strRef>
          </c:cat>
          <c:val>
            <c:numRef>
              <c:f>Sheet1!$B$2:$B$4</c:f>
              <c:numCache>
                <c:formatCode>General</c:formatCode>
                <c:ptCount val="3"/>
                <c:pt idx="0">
                  <c:v>367.5</c:v>
                </c:pt>
                <c:pt idx="1">
                  <c:v>305.0</c:v>
                </c:pt>
                <c:pt idx="2">
                  <c:v>3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92.0</a:t>
                    </a:r>
                  </a:p>
                </c:rich>
              </c:tx>
              <c:showLegendKey val="0"/>
              <c:showVal val="1"/>
              <c:showCatName val="0"/>
              <c:showSerName val="0"/>
              <c:showPercent val="0"/>
              <c:showBubbleSize val="0"/>
            </c:dLbl>
            <c:dLbl>
              <c:idx val="2"/>
              <c:tx>
                <c:rich>
                  <a:bodyPr/>
                  <a:lstStyle/>
                  <a:p>
                    <a:r>
                      <a:t>19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Beiersdorf Nivea After Sun Adults Cosmetics Crema 0 - 5 200Ml</c:v>
                </c:pt>
                <c:pt idx="2">
                  <c:v>Others Fabricante Unif. Others Marca Unif. After Sun Adults Cosmetics Liquido 0 - 5 165Ml</c:v>
                </c:pt>
              </c:strCache>
            </c:strRef>
          </c:cat>
          <c:val>
            <c:numRef>
              <c:f>Sheet1!$B$2:$B$4</c:f>
              <c:numCache>
                <c:formatCode>General</c:formatCode>
                <c:ptCount val="3"/>
                <c:pt idx="0">
                  <c:v>299.0</c:v>
                </c:pt>
                <c:pt idx="1">
                  <c:v>92.0</c:v>
                </c:pt>
                <c:pt idx="2">
                  <c:v>19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35.0</a:t>
                    </a:r>
                  </a:p>
                </c:rich>
              </c:tx>
              <c:showLegendKey val="0"/>
              <c:showVal val="1"/>
              <c:showCatName val="0"/>
              <c:showSerName val="0"/>
              <c:showPercent val="0"/>
              <c:showBubbleSize val="0"/>
            </c:dLbl>
            <c:dLbl>
              <c:idx val="4"/>
              <c:tx>
                <c:rich>
                  <a:bodyPr/>
                  <a:lstStyle/>
                  <a:p>
                    <a:r>
                      <a:t>179.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125.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Advanced Protection Sunscreen Adults Cosmetics Liquido 50+ 240Ml</c:v>
                </c:pt>
                <c:pt idx="1">
                  <c:v>Edgewell Banana Boat Aqua Protect Sunscreen Adults Cosmetics Crema 50+ 236Ml</c:v>
                </c:pt>
                <c:pt idx="2">
                  <c:v>Edgewell Banana Boat Aqua Protect Sunscreen Adults Sport Crema 50+ 236Ml</c:v>
                </c:pt>
                <c:pt idx="3">
                  <c:v>Edgewell Banana Boat Dry Balance Sunscreen Adults Sport Crema 50+ 180Ml</c:v>
                </c:pt>
                <c:pt idx="4">
                  <c:v>Edgewell Beauty Care Sensitive Sunscreen Adults Cosmetics Liquido 50+ 50Ml</c:v>
                </c:pt>
                <c:pt idx="5">
                  <c:v>Edgewell Hawaiian Tropic Other Sunscreen Adults Cosmetics Crema 50+ 240Ml</c:v>
                </c:pt>
                <c:pt idx="6">
                  <c:v>Edgewell Hawaiian Tropic Ozono Sunscreen Adults Cosmetics Liquido 50+ 240Ml</c:v>
                </c:pt>
                <c:pt idx="7">
                  <c:v>Edgewell Hawaiian Tropic Ozono Sunscreen Adults Cosmetics Liquido 50+ 90Ml</c:v>
                </c:pt>
                <c:pt idx="8">
                  <c:v>Edgewell Hawaiian Tropic Sheer Touch Sunscreen Adults Cosmetics Crema 50 120Ml</c:v>
                </c:pt>
              </c:strCache>
            </c:strRef>
          </c:cat>
          <c:val>
            <c:numRef>
              <c:f>Sheet1!$B$2:$B$10</c:f>
              <c:numCache>
                <c:formatCode>General</c:formatCode>
                <c:ptCount val="9"/>
                <c:pt idx="0">
                  <c:v>310.0</c:v>
                </c:pt>
                <c:pt idx="1">
                  <c:v>305.0</c:v>
                </c:pt>
                <c:pt idx="2">
                  <c:v>305.0</c:v>
                </c:pt>
                <c:pt idx="3">
                  <c:v>335.0</c:v>
                </c:pt>
                <c:pt idx="4">
                  <c:v>179.0</c:v>
                </c:pt>
                <c:pt idx="5">
                  <c:v>350.0</c:v>
                </c:pt>
                <c:pt idx="6">
                  <c:v>350.0</c:v>
                </c:pt>
                <c:pt idx="7">
                  <c:v>125.0</c:v>
                </c:pt>
                <c:pt idx="8">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3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179.0</a:t>
                    </a:r>
                  </a:p>
                </c:rich>
              </c:tx>
              <c:showLegendKey val="0"/>
              <c:showVal val="1"/>
              <c:showCatName val="0"/>
              <c:showSerName val="0"/>
              <c:showPercent val="0"/>
              <c:showBubbleSize val="0"/>
            </c:dLbl>
            <c:dLbl>
              <c:idx val="7"/>
              <c:tx>
                <c:rich>
                  <a:bodyPr/>
                  <a:lstStyle/>
                  <a:p>
                    <a:r>
                      <a:t>179.0</a:t>
                    </a:r>
                  </a:p>
                </c:rich>
              </c:tx>
              <c:showLegendKey val="0"/>
              <c:showVal val="1"/>
              <c:showCatName val="0"/>
              <c:showSerName val="0"/>
              <c:showPercent val="0"/>
              <c:showBubbleSize val="0"/>
            </c:dLbl>
            <c:dLbl>
              <c:idx val="8"/>
              <c:tx>
                <c:rich>
                  <a:bodyPr/>
                  <a:lstStyle/>
                  <a:p>
                    <a:r>
                      <a:t>179.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50.0</a:t>
                    </a:r>
                  </a:p>
                </c:rich>
              </c:tx>
              <c:showLegendKey val="0"/>
              <c:showVal val="1"/>
              <c:showCatName val="0"/>
              <c:showSerName val="0"/>
              <c:showPercent val="0"/>
              <c:showBubbleSize val="0"/>
            </c:dLbl>
            <c:dLbl>
              <c:idx val="11"/>
              <c:tx>
                <c:rich>
                  <a:bodyPr/>
                  <a:lstStyle/>
                  <a:p>
                    <a:r>
                      <a:t>205.0</a:t>
                    </a:r>
                  </a:p>
                </c:rich>
              </c:tx>
              <c:showLegendKey val="0"/>
              <c:showVal val="1"/>
              <c:showCatName val="0"/>
              <c:showSerName val="0"/>
              <c:showPercent val="0"/>
              <c:showBubbleSize val="0"/>
            </c:dLbl>
            <c:dLbl>
              <c:idx val="12"/>
              <c:tx>
                <c:rich>
                  <a:bodyPr/>
                  <a:lstStyle/>
                  <a:p>
                    <a:r>
                      <a:t>350.0</a:t>
                    </a:r>
                  </a:p>
                </c:rich>
              </c:tx>
              <c:showLegendKey val="0"/>
              <c:showVal val="1"/>
              <c:showCatName val="0"/>
              <c:showSerName val="0"/>
              <c:showPercent val="0"/>
              <c:showBubbleSize val="0"/>
            </c:dLbl>
            <c:dLbl>
              <c:idx val="13"/>
              <c:tx>
                <c:rich>
                  <a:bodyPr/>
                  <a:lstStyle/>
                  <a:p>
                    <a:r>
                      <a:t>125.0</a:t>
                    </a:r>
                  </a:p>
                </c:rich>
              </c:tx>
              <c:showLegendKey val="0"/>
              <c:showVal val="1"/>
              <c:showCatName val="0"/>
              <c:showSerName val="0"/>
              <c:showPercent val="0"/>
              <c:showBubbleSize val="0"/>
            </c:dLbl>
            <c:dLbl>
              <c:idx val="14"/>
              <c:tx>
                <c:rich>
                  <a:bodyPr/>
                  <a:lstStyle/>
                  <a:p>
                    <a:r>
                      <a:t>385.0</a:t>
                    </a:r>
                  </a:p>
                </c:rich>
              </c:tx>
              <c:showLegendKey val="0"/>
              <c:showVal val="1"/>
              <c:showCatName val="0"/>
              <c:showSerName val="0"/>
              <c:showPercent val="0"/>
              <c:showBubbleSize val="0"/>
            </c:dLbl>
            <c:dLbl>
              <c:idx val="15"/>
              <c:tx>
                <c:rich>
                  <a:bodyPr/>
                  <a:lstStyle/>
                  <a:p>
                    <a:r>
                      <a:t>299.0</a:t>
                    </a:r>
                  </a:p>
                </c:rich>
              </c:tx>
              <c:showLegendKey val="0"/>
              <c:showVal val="1"/>
              <c:showCatName val="0"/>
              <c:showSerName val="0"/>
              <c:showPercent val="0"/>
              <c:showBubbleSize val="0"/>
            </c:dLbl>
            <c:dLbl>
              <c:idx val="16"/>
              <c:tx>
                <c:rich>
                  <a:bodyPr/>
                  <a:lstStyle/>
                  <a:p>
                    <a:r>
                      <a:t>205.0</a:t>
                    </a:r>
                  </a:p>
                </c:rich>
              </c:tx>
              <c:showLegendKey val="0"/>
              <c:showVal val="1"/>
              <c:showCatName val="0"/>
              <c:showSerName val="0"/>
              <c:showPercent val="0"/>
              <c:showBubbleSize val="0"/>
            </c:dLbl>
            <c:dLbl>
              <c:idx val="17"/>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Dry Balance Sunscreen Adults Sport Crema 50+ 180Ml</c:v>
                </c:pt>
                <c:pt idx="5">
                  <c:v>Edgewell Banana Boat Dry Balance Sunscreen Adults Sport Spray Liquido 50 220Ml</c:v>
                </c:pt>
                <c:pt idx="6">
                  <c:v>Edgewell Beauty Care Antioxidant Sunscreen Adults Cosmetics Liquido 50+ 50Ml</c:v>
                </c:pt>
                <c:pt idx="7">
                  <c:v>Edgewell Beauty Care Matte Sunscreen Adults Cosmetics Liquido 30 50Ml</c:v>
                </c:pt>
                <c:pt idx="8">
                  <c:v>Edgewell Beauty Care Sensitive Sunscreen Adults Cosmetics Liquido 50+ 50Ml</c:v>
                </c:pt>
                <c:pt idx="9">
                  <c:v>Edgewell Hawaiian Tropic Island Sport Sunscreen Adults Sport Liquido 50 60Ml</c:v>
                </c:pt>
                <c:pt idx="10">
                  <c:v>Edgewell Hawaiian Tropic Other Sunscreen Adults Cosmetics Crema 50+ 240Ml</c:v>
                </c:pt>
                <c:pt idx="11">
                  <c:v>Edgewell Hawaiian Tropic Ozono Sunscreen Adults Cosmetics Liquido 50+ 120Ml</c:v>
                </c:pt>
                <c:pt idx="12">
                  <c:v>Edgewell Hawaiian Tropic Ozono Sunscreen Adults Cosmetics Liquido 50+ 240Ml</c:v>
                </c:pt>
                <c:pt idx="13">
                  <c:v>Edgewell Hawaiian Tropic Ozono Sunscreen Adults Cosmetics Liquido 50+ 90Ml</c:v>
                </c:pt>
                <c:pt idx="14">
                  <c:v>Edgewell Hawaiian Tropic Ozono Sunscreen Adults Cosmetics Spray Liquido 50+ 180Ml</c:v>
                </c:pt>
                <c:pt idx="15">
                  <c:v>Edgewell Hawaiian Tropic Sheer Touch Sunscreen Adults Cosmetics Crema 30 - 49 240Ml</c:v>
                </c:pt>
                <c:pt idx="16">
                  <c:v>Edgewell Hawaiian Tropic Sheer Touch Sunscreen Adults Cosmetics Crema 50 120Ml</c:v>
                </c:pt>
                <c:pt idx="17">
                  <c:v>Edgewell Hawaiian Tropic Sheer Touch Sunscreen Adults Cosmetics Liquido 30 - 49 60Ml</c:v>
                </c:pt>
              </c:strCache>
            </c:strRef>
          </c:cat>
          <c:val>
            <c:numRef>
              <c:f>Sheet1!$B$2:$B$19</c:f>
              <c:numCache>
                <c:formatCode>General</c:formatCode>
                <c:ptCount val="18"/>
                <c:pt idx="0">
                  <c:v>310.0</c:v>
                </c:pt>
                <c:pt idx="1">
                  <c:v>305.0</c:v>
                </c:pt>
                <c:pt idx="2">
                  <c:v>349.0</c:v>
                </c:pt>
                <c:pt idx="3">
                  <c:v>305.0</c:v>
                </c:pt>
                <c:pt idx="4">
                  <c:v>335.0</c:v>
                </c:pt>
                <c:pt idx="5">
                  <c:v>385.0</c:v>
                </c:pt>
                <c:pt idx="6">
                  <c:v>179.0</c:v>
                </c:pt>
                <c:pt idx="7">
                  <c:v>179.0</c:v>
                </c:pt>
                <c:pt idx="8">
                  <c:v>179.0</c:v>
                </c:pt>
                <c:pt idx="9">
                  <c:v>105.0</c:v>
                </c:pt>
                <c:pt idx="10">
                  <c:v>350.0</c:v>
                </c:pt>
                <c:pt idx="11">
                  <c:v>205.0</c:v>
                </c:pt>
                <c:pt idx="12">
                  <c:v>350.0</c:v>
                </c:pt>
                <c:pt idx="13">
                  <c:v>125.0</c:v>
                </c:pt>
                <c:pt idx="14">
                  <c:v>385.0</c:v>
                </c:pt>
                <c:pt idx="15">
                  <c:v>299.0</c:v>
                </c:pt>
                <c:pt idx="16">
                  <c:v>205.0</c:v>
                </c:pt>
                <c:pt idx="17">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5</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Banana Boat Banded Pack Banded Pack 2X Sunscreen Multi 50+ 236Ml</c:v>
                </c:pt>
                <c:pt idx="2">
                  <c:v>Edgewell Banana Boat Kids Sport Sunscreen Kids Cosmetics Crema 50 180Ml</c:v>
                </c:pt>
                <c:pt idx="3">
                  <c:v>Edgewell Banana Boat Mineral Sunscreen Kids Cosmetics Locion 50 180Ml</c:v>
                </c:pt>
              </c:strCache>
            </c:strRef>
          </c:cat>
          <c:val>
            <c:numRef>
              <c:f>Sheet1!$B$2:$B$5</c:f>
              <c:numCache>
                <c:formatCode>General</c:formatCode>
                <c:ptCount val="4"/>
                <c:pt idx="0">
                  <c:v>367.5</c:v>
                </c:pt>
                <c:pt idx="1">
                  <c:v>305.0</c:v>
                </c:pt>
                <c:pt idx="2">
                  <c:v>305.0</c:v>
                </c:pt>
                <c:pt idx="3">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7.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249.0</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2.0</a:t>
                    </a:r>
                  </a:p>
                </c:rich>
              </c:tx>
              <c:showLegendKey val="0"/>
              <c:showVal val="1"/>
              <c:showCatName val="0"/>
              <c:showSerName val="0"/>
              <c:showPercent val="0"/>
              <c:showBubbleSize val="0"/>
            </c:dLbl>
            <c:dLbl>
              <c:idx val="9"/>
              <c:tx>
                <c:rich>
                  <a:bodyPr/>
                  <a:lstStyle/>
                  <a:p>
                    <a:r>
                      <a:t>240.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79.0</a:t>
                    </a:r>
                  </a:p>
                </c:rich>
              </c:tx>
              <c:showLegendKey val="0"/>
              <c:showVal val="1"/>
              <c:showCatName val="0"/>
              <c:showSerName val="0"/>
              <c:showPercent val="0"/>
              <c:showBubbleSize val="0"/>
            </c:dLbl>
            <c:dLbl>
              <c:idx val="13"/>
              <c:tx>
                <c:rich>
                  <a:bodyPr/>
                  <a:lstStyle/>
                  <a:p>
                    <a:r>
                      <a:t>350.0</a:t>
                    </a:r>
                  </a:p>
                </c:rich>
              </c:tx>
              <c:showLegendKey val="0"/>
              <c:showVal val="1"/>
              <c:showCatName val="0"/>
              <c:showSerName val="0"/>
              <c:showPercent val="0"/>
              <c:showBubbleSize val="0"/>
            </c:dLbl>
            <c:dLbl>
              <c:idx val="14"/>
              <c:tx>
                <c:rich>
                  <a:bodyPr/>
                  <a:lstStyle/>
                  <a:p>
                    <a:r>
                      <a:t>205.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350.0</a:t>
                    </a:r>
                  </a:p>
                </c:rich>
              </c:tx>
              <c:showLegendKey val="0"/>
              <c:showVal val="1"/>
              <c:showCatName val="0"/>
              <c:showSerName val="0"/>
              <c:showPercent val="0"/>
              <c:showBubbleSize val="0"/>
            </c:dLbl>
            <c:dLbl>
              <c:idx val="17"/>
              <c:tx>
                <c:rich>
                  <a:bodyPr/>
                  <a:lstStyle/>
                  <a:p>
                    <a:r>
                      <a:t>125.0</a:t>
                    </a:r>
                  </a:p>
                </c:rich>
              </c:tx>
              <c:showLegendKey val="0"/>
              <c:showVal val="1"/>
              <c:showCatName val="0"/>
              <c:showSerName val="0"/>
              <c:showPercent val="0"/>
              <c:showBubbleSize val="0"/>
            </c:dLbl>
            <c:dLbl>
              <c:idx val="18"/>
              <c:tx>
                <c:rich>
                  <a:bodyPr/>
                  <a:lstStyle/>
                  <a:p>
                    <a:r>
                      <a:t>385.0</a:t>
                    </a:r>
                  </a:p>
                </c:rich>
              </c:tx>
              <c:showLegendKey val="0"/>
              <c:showVal val="1"/>
              <c:showCatName val="0"/>
              <c:showSerName val="0"/>
              <c:showPercent val="0"/>
              <c:showBubbleSize val="0"/>
            </c:dLbl>
            <c:dLbl>
              <c:idx val="19"/>
              <c:tx>
                <c:rich>
                  <a:bodyPr/>
                  <a:lstStyle/>
                  <a:p>
                    <a:r>
                      <a:t>299.0</a:t>
                    </a:r>
                  </a:p>
                </c:rich>
              </c:tx>
              <c:showLegendKey val="0"/>
              <c:showVal val="1"/>
              <c:showCatName val="0"/>
              <c:showSerName val="0"/>
              <c:showPercent val="0"/>
              <c:showBubbleSize val="0"/>
            </c:dLbl>
            <c:dLbl>
              <c:idx val="20"/>
              <c:tx>
                <c:rich>
                  <a:bodyPr/>
                  <a:lstStyle/>
                  <a:p>
                    <a:r>
                      <a:t>205.0</a:t>
                    </a:r>
                  </a:p>
                </c:rich>
              </c:tx>
              <c:showLegendKey val="0"/>
              <c:showVal val="1"/>
              <c:showCatName val="0"/>
              <c:showSerName val="0"/>
              <c:showPercent val="0"/>
              <c:showBubbleSize val="0"/>
            </c:dLbl>
            <c:dLbl>
              <c:idx val="21"/>
              <c:tx>
                <c:rich>
                  <a:bodyPr/>
                  <a:lstStyle/>
                  <a:p>
                    <a:r>
                      <a:t>105.0</a:t>
                    </a:r>
                  </a:p>
                </c:rich>
              </c:tx>
              <c:showLegendKey val="0"/>
              <c:showVal val="1"/>
              <c:showCatName val="0"/>
              <c:showSerName val="0"/>
              <c:showPercent val="0"/>
              <c:showBubbleSize val="0"/>
            </c:dLbl>
            <c:dLbl>
              <c:idx val="22"/>
              <c:tx>
                <c:rich>
                  <a:bodyPr/>
                  <a:lstStyle/>
                  <a:p>
                    <a:r>
                      <a:t>315.0</a:t>
                    </a:r>
                  </a:p>
                </c:rich>
              </c:tx>
              <c:showLegendKey val="0"/>
              <c:showVal val="1"/>
              <c:showCatName val="0"/>
              <c:showSerName val="0"/>
              <c:showPercent val="0"/>
              <c:showBubbleSize val="0"/>
            </c:dLbl>
            <c:dLbl>
              <c:idx val="23"/>
              <c:tx>
                <c:rich>
                  <a:bodyPr/>
                  <a:lstStyle/>
                  <a:p>
                    <a:r>
                      <a:t>254.33</a:t>
                    </a:r>
                  </a:p>
                </c:rich>
              </c:tx>
              <c:showLegendKey val="0"/>
              <c:showVal val="1"/>
              <c:showCatName val="0"/>
              <c:showSerName val="0"/>
              <c:showPercent val="0"/>
              <c:showBubbleSize val="0"/>
            </c:dLbl>
            <c:dLbl>
              <c:idx val="24"/>
              <c:tx>
                <c:rich>
                  <a:bodyPr/>
                  <a:lstStyle/>
                  <a:p>
                    <a:r>
                      <a:t>319.0</a:t>
                    </a:r>
                  </a:p>
                </c:rich>
              </c:tx>
              <c:showLegendKey val="0"/>
              <c:showVal val="1"/>
              <c:showCatName val="0"/>
              <c:showSerName val="0"/>
              <c:showPercent val="0"/>
              <c:showBubbleSize val="0"/>
            </c:dLbl>
            <c:dLbl>
              <c:idx val="25"/>
              <c:tx>
                <c:rich>
                  <a:bodyPr/>
                  <a:lstStyle/>
                  <a:p>
                    <a:r>
                      <a:t>220.0</a:t>
                    </a:r>
                  </a:p>
                </c:rich>
              </c:tx>
              <c:showLegendKey val="0"/>
              <c:showVal val="1"/>
              <c:showCatName val="0"/>
              <c:showSerName val="0"/>
              <c:showPercent val="0"/>
              <c:showBubbleSize val="0"/>
            </c:dLbl>
            <c:dLbl>
              <c:idx val="26"/>
              <c:tx>
                <c:rich>
                  <a:bodyPr/>
                  <a:lstStyle/>
                  <a:p>
                    <a:r>
                      <a:t>286.0</a:t>
                    </a:r>
                  </a:p>
                </c:rich>
              </c:tx>
              <c:showLegendKey val="0"/>
              <c:showVal val="1"/>
              <c:showCatName val="0"/>
              <c:showSerName val="0"/>
              <c:showPercent val="0"/>
              <c:showBubbleSize val="0"/>
            </c:dLbl>
            <c:dLbl>
              <c:idx val="27"/>
              <c:tx>
                <c:rich>
                  <a:bodyPr/>
                  <a:lstStyle/>
                  <a:p>
                    <a:r>
                      <a:t>311.0</a:t>
                    </a:r>
                  </a:p>
                </c:rich>
              </c:tx>
              <c:showLegendKey val="0"/>
              <c:showVal val="1"/>
              <c:showCatName val="0"/>
              <c:showSerName val="0"/>
              <c:showPercent val="0"/>
              <c:showBubbleSize val="0"/>
            </c:dLbl>
            <c:dLbl>
              <c:idx val="28"/>
              <c:tx>
                <c:rich>
                  <a:bodyPr/>
                  <a:lstStyle/>
                  <a:p>
                    <a:r>
                      <a:t>423.9</a:t>
                    </a:r>
                  </a:p>
                </c:rich>
              </c:tx>
              <c:showLegendKey val="0"/>
              <c:showVal val="1"/>
              <c:showCatName val="0"/>
              <c:showSerName val="0"/>
              <c:showPercent val="0"/>
              <c:showBubbleSize val="0"/>
            </c:dLbl>
            <c:dLbl>
              <c:idx val="29"/>
              <c:tx>
                <c:rich>
                  <a:bodyPr/>
                  <a:lstStyle/>
                  <a:p>
                    <a:r>
                      <a:t>278.0</a:t>
                    </a:r>
                  </a:p>
                </c:rich>
              </c:tx>
              <c:showLegendKey val="0"/>
              <c:showVal val="1"/>
              <c:showCatName val="0"/>
              <c:showSerName val="0"/>
              <c:showPercent val="0"/>
              <c:showBubbleSize val="0"/>
            </c:dLbl>
            <c:dLbl>
              <c:idx val="30"/>
              <c:tx>
                <c:rich>
                  <a:bodyPr/>
                  <a:lstStyle/>
                  <a:p>
                    <a:r>
                      <a:t>393.9</a:t>
                    </a:r>
                  </a:p>
                </c:rich>
              </c:tx>
              <c:showLegendKey val="0"/>
              <c:showVal val="1"/>
              <c:showCatName val="0"/>
              <c:showSerName val="0"/>
              <c:showPercent val="0"/>
              <c:showBubbleSize val="0"/>
            </c:dLbl>
            <c:dLbl>
              <c:idx val="31"/>
              <c:tx>
                <c:rich>
                  <a:bodyPr/>
                  <a:lstStyle/>
                  <a:p>
                    <a:r>
                      <a:t>188.0</a:t>
                    </a:r>
                  </a:p>
                </c:rich>
              </c:tx>
              <c:showLegendKey val="0"/>
              <c:showVal val="1"/>
              <c:showCatName val="0"/>
              <c:showSerName val="0"/>
              <c:showPercent val="0"/>
              <c:showBubbleSize val="0"/>
            </c:dLbl>
            <c:dLbl>
              <c:idx val="32"/>
              <c:tx>
                <c:rich>
                  <a:bodyPr/>
                  <a:lstStyle/>
                  <a:p>
                    <a:r>
                      <a:t>326.0</a:t>
                    </a:r>
                  </a:p>
                </c:rich>
              </c:tx>
              <c:showLegendKey val="0"/>
              <c:showVal val="1"/>
              <c:showCatName val="0"/>
              <c:showSerName val="0"/>
              <c:showPercent val="0"/>
              <c:showBubbleSize val="0"/>
            </c:dLbl>
            <c:dLbl>
              <c:idx val="33"/>
              <c:tx>
                <c:rich>
                  <a:bodyPr/>
                  <a:lstStyle/>
                  <a:p>
                    <a:r>
                      <a:t>349.0</a:t>
                    </a:r>
                  </a:p>
                </c:rich>
              </c:tx>
              <c:showLegendKey val="0"/>
              <c:showVal val="1"/>
              <c:showCatName val="0"/>
              <c:showSerName val="0"/>
              <c:showPercent val="0"/>
              <c:showBubbleSize val="0"/>
            </c:dLbl>
            <c:dLbl>
              <c:idx val="34"/>
              <c:tx>
                <c:rich>
                  <a:bodyPr/>
                  <a:lstStyle/>
                  <a:p>
                    <a:r>
                      <a:t>310.0</a:t>
                    </a:r>
                  </a:p>
                </c:rich>
              </c:tx>
              <c:showLegendKey val="0"/>
              <c:showVal val="1"/>
              <c:showCatName val="0"/>
              <c:showSerName val="0"/>
              <c:showPercent val="0"/>
              <c:showBubbleSize val="0"/>
            </c:dLbl>
            <c:dLbl>
              <c:idx val="35"/>
              <c:tx>
                <c:rich>
                  <a:bodyPr/>
                  <a:lstStyle/>
                  <a:p>
                    <a:r>
                      <a:t>365.0</a:t>
                    </a:r>
                  </a:p>
                </c:rich>
              </c:tx>
              <c:showLegendKey val="0"/>
              <c:showVal val="1"/>
              <c:showCatName val="0"/>
              <c:showSerName val="0"/>
              <c:showPercent val="0"/>
              <c:showBubbleSize val="0"/>
            </c:dLbl>
            <c:dLbl>
              <c:idx val="36"/>
              <c:tx>
                <c:rich>
                  <a:bodyPr/>
                  <a:lstStyle/>
                  <a:p>
                    <a:r>
                      <a:t>175.0</a:t>
                    </a:r>
                  </a:p>
                </c:rich>
              </c:tx>
              <c:showLegendKey val="0"/>
              <c:showVal val="1"/>
              <c:showCatName val="0"/>
              <c:showSerName val="0"/>
              <c:showPercent val="0"/>
              <c:showBubbleSize val="0"/>
            </c:dLbl>
            <c:dLbl>
              <c:idx val="37"/>
              <c:tx>
                <c:rich>
                  <a:bodyPr/>
                  <a:lstStyle/>
                  <a:p>
                    <a:r>
                      <a:t>314.0</a:t>
                    </a:r>
                  </a:p>
                </c:rich>
              </c:tx>
              <c:showLegendKey val="0"/>
              <c:showVal val="1"/>
              <c:showCatName val="0"/>
              <c:showSerName val="0"/>
              <c:showPercent val="0"/>
              <c:showBubbleSize val="0"/>
            </c:dLbl>
            <c:dLbl>
              <c:idx val="38"/>
              <c:tx>
                <c:rich>
                  <a:bodyPr/>
                  <a:lstStyle/>
                  <a:p>
                    <a:r>
                      <a:t>2165.0</a:t>
                    </a:r>
                  </a:p>
                </c:rich>
              </c:tx>
              <c:showLegendKey val="0"/>
              <c:showVal val="1"/>
              <c:showCatName val="0"/>
              <c:showSerName val="0"/>
              <c:showPercent val="0"/>
              <c:showBubbleSize val="0"/>
            </c:dLbl>
            <c:dLbl>
              <c:idx val="39"/>
              <c:tx>
                <c:rich>
                  <a:bodyPr/>
                  <a:lstStyle/>
                  <a:p>
                    <a:r>
                      <a:t>216.0</a:t>
                    </a:r>
                  </a:p>
                </c:rich>
              </c:tx>
              <c:showLegendKey val="0"/>
              <c:showVal val="1"/>
              <c:showCatName val="0"/>
              <c:showSerName val="0"/>
              <c:showPercent val="0"/>
              <c:showBubbleSize val="0"/>
            </c:dLbl>
            <c:dLbl>
              <c:idx val="40"/>
              <c:tx>
                <c:rich>
                  <a:bodyPr/>
                  <a:lstStyle/>
                  <a:p>
                    <a:r>
                      <a:t>265.0</a:t>
                    </a:r>
                  </a:p>
                </c:rich>
              </c:tx>
              <c:showLegendKey val="0"/>
              <c:showVal val="1"/>
              <c:showCatName val="0"/>
              <c:showSerName val="0"/>
              <c:showPercent val="0"/>
              <c:showBubbleSize val="0"/>
            </c:dLbl>
            <c:dLbl>
              <c:idx val="41"/>
              <c:tx>
                <c:rich>
                  <a:bodyPr/>
                  <a:lstStyle/>
                  <a:p>
                    <a:r>
                      <a:t>329.0</a:t>
                    </a:r>
                  </a:p>
                </c:rich>
              </c:tx>
              <c:showLegendKey val="0"/>
              <c:showVal val="1"/>
              <c:showCatName val="0"/>
              <c:showSerName val="0"/>
              <c:showPercent val="0"/>
              <c:showBubbleSize val="0"/>
            </c:dLbl>
            <c:dLbl>
              <c:idx val="42"/>
              <c:tx>
                <c:rich>
                  <a:bodyPr/>
                  <a:lstStyle/>
                  <a:p>
                    <a:r>
                      <a:t>779.0</a:t>
                    </a:r>
                  </a:p>
                </c:rich>
              </c:tx>
              <c:showLegendKey val="0"/>
              <c:showVal val="1"/>
              <c:showCatName val="0"/>
              <c:showSerName val="0"/>
              <c:showPercent val="0"/>
              <c:showBubbleSize val="0"/>
            </c:dLbl>
            <c:dLbl>
              <c:idx val="43"/>
              <c:tx>
                <c:rich>
                  <a:bodyPr/>
                  <a:lstStyle/>
                  <a:p>
                    <a:r>
                      <a:t>329.0</a:t>
                    </a:r>
                  </a:p>
                </c:rich>
              </c:tx>
              <c:showLegendKey val="0"/>
              <c:showVal val="1"/>
              <c:showCatName val="0"/>
              <c:showSerName val="0"/>
              <c:showPercent val="0"/>
              <c:showBubbleSize val="0"/>
            </c:dLbl>
            <c:dLbl>
              <c:idx val="44"/>
              <c:tx>
                <c:rich>
                  <a:bodyPr/>
                  <a:lstStyle/>
                  <a:p>
                    <a:r>
                      <a:t>426.0</a:t>
                    </a:r>
                  </a:p>
                </c:rich>
              </c:tx>
              <c:showLegendKey val="0"/>
              <c:showVal val="1"/>
              <c:showCatName val="0"/>
              <c:showSerName val="0"/>
              <c:showPercent val="0"/>
              <c:showBubbleSize val="0"/>
            </c:dLbl>
            <c:dLbl>
              <c:idx val="45"/>
              <c:tx>
                <c:rich>
                  <a:bodyPr/>
                  <a:lstStyle/>
                  <a:p>
                    <a:r>
                      <a:t>399.0</a:t>
                    </a:r>
                  </a:p>
                </c:rich>
              </c:tx>
              <c:showLegendKey val="0"/>
              <c:showVal val="1"/>
              <c:showCatName val="0"/>
              <c:showSerName val="0"/>
              <c:showPercent val="0"/>
              <c:showBubbleSize val="0"/>
            </c:dLbl>
            <c:dLbl>
              <c:idx val="46"/>
              <c:tx>
                <c:rich>
                  <a:bodyPr/>
                  <a:lstStyle/>
                  <a:p>
                    <a:r>
                      <a:t>19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8</c:f>
              <c:strCache>
                <c:ptCount val="47"/>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Dry Balance Sunscreen Adults Cosmetics Spray Crema 50+ 220Ml</c:v>
                </c:pt>
                <c:pt idx="6">
                  <c:v>Edgewell Banana Boat Kids Sport Sunscreen Kids Cosmetics Crema 50 180Ml</c:v>
                </c:pt>
                <c:pt idx="7">
                  <c:v>Edgewell Banana Boat Mineral Sunscreen Adults Cosmetics Locion 50 60Ml</c:v>
                </c:pt>
                <c:pt idx="8">
                  <c:v>Edgewell Banana Boat Mineral Sunscreen Kids Cosmetics Locion 50 180Ml</c:v>
                </c:pt>
                <c:pt idx="9">
                  <c:v>Edgewell Beauty Care Antioxidant Sunscreen Adults Cosmetics Liquido 15 - 19 100Ml</c:v>
                </c:pt>
                <c:pt idx="10">
                  <c:v>Edgewell Beauty Care Antioxidant Sunscreen Adults Cosmetics Liquido 50+ 50Ml</c:v>
                </c:pt>
                <c:pt idx="11">
                  <c:v>Edgewell Beauty Care Matte Sunscreen Adults Cosmetics Liquido 30 50Ml</c:v>
                </c:pt>
                <c:pt idx="12">
                  <c:v>Edgewell Beauty Care Sensitive Sunscreen Adults Cosmetics Liquido 50+ 50Ml</c:v>
                </c:pt>
                <c:pt idx="13">
                  <c:v>Edgewell Hawaiian Tropic Other Sunscreen Adults Cosmetics Crema 50+ 240Ml</c:v>
                </c:pt>
                <c:pt idx="14">
                  <c:v>Edgewell Hawaiian Tropic Ozono Sunscreen Adults Cosmetics Liquido 50+ 120Ml</c:v>
                </c:pt>
                <c:pt idx="15">
                  <c:v>Edgewell Hawaiian Tropic Ozono Sunscreen Adults Cosmetics Liquido 50+ 180Ml</c:v>
                </c:pt>
                <c:pt idx="16">
                  <c:v>Edgewell Hawaiian Tropic Ozono Sunscreen Adults Cosmetics Liquido 50+ 240Ml</c:v>
                </c:pt>
                <c:pt idx="17">
                  <c:v>Edgewell Hawaiian Tropic Ozono Sunscreen Adults Cosmetics Liquido 50+ 90Ml</c:v>
                </c:pt>
                <c:pt idx="18">
                  <c:v>Edgewell Hawaiian Tropic Ozono Sunscreen Adults Cosmetics Spray Liquido 50+ 180Ml</c:v>
                </c:pt>
                <c:pt idx="19">
                  <c:v>Edgewell Hawaiian Tropic Sheer Touch Sunscreen Adults Cosmetics Crema 30 - 49 240Ml</c:v>
                </c:pt>
                <c:pt idx="20">
                  <c:v>Edgewell Hawaiian Tropic Sheer Touch Sunscreen Adults Cosmetics Crema 50 120Ml</c:v>
                </c:pt>
                <c:pt idx="21">
                  <c:v>Edgewell Hawaiian Tropic Sheer Touch Sunscreen Adults Cosmetics Liquido 30 - 49 60Ml</c:v>
                </c:pt>
                <c:pt idx="22">
                  <c:v>Edgewell Hawaiian Tropic Tanning Sunscreen Adults Cosmetics Spray Liquido 15 - 19 220Ml</c:v>
                </c:pt>
                <c:pt idx="23">
                  <c:v>Beiersdorf Nivea Sunscreen Adults Cosmetics Crema 50 50Ml</c:v>
                </c:pt>
                <c:pt idx="24">
                  <c:v>Beiersdorf Nivea Sunscreen Adults Cosmetics Crema 50+ 200Ml</c:v>
                </c:pt>
                <c:pt idx="25">
                  <c:v>Beiersdorf Nivea Sunscreen Adults Cosmetics Crema 50+ 40Ml</c:v>
                </c:pt>
                <c:pt idx="26">
                  <c:v>Beiersdorf Nivea Sunscreen Adults Cosmetics Crema 50+ 50Ml</c:v>
                </c:pt>
                <c:pt idx="27">
                  <c:v>Beiersdorf Nivea Sunscreen Adults Cosmetics Fluido 50+ 40Ml</c:v>
                </c:pt>
                <c:pt idx="28">
                  <c:v>Beiersdorf Nivea Sunscreen Adults Cosmetics Gel 50+ 200Ml</c:v>
                </c:pt>
                <c:pt idx="29">
                  <c:v>Beiersdorf Nivea Sunscreen Adults Cosmetics Liquido 30 - 49 200Ml</c:v>
                </c:pt>
                <c:pt idx="30">
                  <c:v>Beiersdorf Nivea Sunscreen Adults Cosmetics Liquido 50 200Ml</c:v>
                </c:pt>
                <c:pt idx="31">
                  <c:v>Beiersdorf Nivea Sunscreen Adults Cosmetics Liquido 50+ 125Ml</c:v>
                </c:pt>
                <c:pt idx="32">
                  <c:v>Beiersdorf Nivea Sunscreen Adults Cosmetics Spray Liquido 50 200Ml</c:v>
                </c:pt>
                <c:pt idx="33">
                  <c:v>Beiersdorf Nivea Sunscreen Kids Cosmetics Gel 50+ 150Ml</c:v>
                </c:pt>
                <c:pt idx="34">
                  <c:v>Beiersdorf Nivea Sunscreen Kids Cosmetics Liquido 50+ 200Ml</c:v>
                </c:pt>
                <c:pt idx="35">
                  <c:v>Beiersdorf Nivea Sunscreen Kids Cosmetics Spray Liquido 50+ 200Ml</c:v>
                </c:pt>
                <c:pt idx="36">
                  <c:v>Others Fabricante Unif. Others Marca Unif. Sunscreen Adults Cosmetics Crema 50+ 40Ml</c:v>
                </c:pt>
                <c:pt idx="37">
                  <c:v>Others Fabricante Unif. Others Marca Unif. Sunscreen Adults Cosmetics Crema 50+ 50Ml</c:v>
                </c:pt>
                <c:pt idx="38">
                  <c:v>Others Fabricante Unif. Others Marca Unif. Sunscreen Adults Cosmetics Crema 50+ 55Ml</c:v>
                </c:pt>
                <c:pt idx="39">
                  <c:v>Others Fabricante Unif. Others Marca Unif. Sunscreen Adults Cosmetics Fluido 50+ 45Ml</c:v>
                </c:pt>
                <c:pt idx="40">
                  <c:v>Others Fabricante Unif. Others Marca Unif. Sunscreen Adults Cosmetics Liquido 30 50Ml</c:v>
                </c:pt>
                <c:pt idx="41">
                  <c:v>Others Fabricante Unif. Others Marca Unif. Sunscreen Adults Cosmetics Spray Aerosol 50 30Ml</c:v>
                </c:pt>
                <c:pt idx="42">
                  <c:v>Others Fabricante Unif. Others Marca Unif. Sunscreen Adults Cosmetics Stick 30 - 49 30Ml</c:v>
                </c:pt>
                <c:pt idx="43">
                  <c:v>Others Fabricante Unif. Others Marca Unif. Sunscreen Adults Cosmetics Stick 50 15Ml</c:v>
                </c:pt>
                <c:pt idx="44">
                  <c:v>Others Fabricante Unif. Others Marca Unif. Sunscreen Adults Cosmetics Stick 50+ 15Ml</c:v>
                </c:pt>
                <c:pt idx="45">
                  <c:v>Others Fabricante Unif. Others Marca Unif. Sunscreen Adults Cosmetics Stick 50+ 19Ml</c:v>
                </c:pt>
                <c:pt idx="46">
                  <c:v>Others Fabricante Unif. Others Marca Unif. Sunscreen Kids Cosmetics Crema 50 165Ml</c:v>
                </c:pt>
              </c:strCache>
            </c:strRef>
          </c:cat>
          <c:val>
            <c:numRef>
              <c:f>Sheet1!$B$2:$B$48</c:f>
              <c:numCache>
                <c:formatCode>General</c:formatCode>
                <c:ptCount val="47"/>
                <c:pt idx="0">
                  <c:v>310.0</c:v>
                </c:pt>
                <c:pt idx="1">
                  <c:v>305.0</c:v>
                </c:pt>
                <c:pt idx="2">
                  <c:v>349.0</c:v>
                </c:pt>
                <c:pt idx="3">
                  <c:v>367.5</c:v>
                </c:pt>
                <c:pt idx="4">
                  <c:v>305.0</c:v>
                </c:pt>
                <c:pt idx="5">
                  <c:v>249.0</c:v>
                </c:pt>
                <c:pt idx="6">
                  <c:v>305.0</c:v>
                </c:pt>
                <c:pt idx="7">
                  <c:v>310.0</c:v>
                </c:pt>
                <c:pt idx="8">
                  <c:v>242.0</c:v>
                </c:pt>
                <c:pt idx="9">
                  <c:v>240.0</c:v>
                </c:pt>
                <c:pt idx="10">
                  <c:v>179.0</c:v>
                </c:pt>
                <c:pt idx="11">
                  <c:v>179.0</c:v>
                </c:pt>
                <c:pt idx="12">
                  <c:v>179.0</c:v>
                </c:pt>
                <c:pt idx="13">
                  <c:v>350.0</c:v>
                </c:pt>
                <c:pt idx="14">
                  <c:v>205.0</c:v>
                </c:pt>
                <c:pt idx="15">
                  <c:v>350.0</c:v>
                </c:pt>
                <c:pt idx="16">
                  <c:v>350.0</c:v>
                </c:pt>
                <c:pt idx="17">
                  <c:v>125.0</c:v>
                </c:pt>
                <c:pt idx="18">
                  <c:v>385.0</c:v>
                </c:pt>
                <c:pt idx="19">
                  <c:v>299.0</c:v>
                </c:pt>
                <c:pt idx="20">
                  <c:v>205.0</c:v>
                </c:pt>
                <c:pt idx="21">
                  <c:v>105.0</c:v>
                </c:pt>
                <c:pt idx="22">
                  <c:v>315.0</c:v>
                </c:pt>
                <c:pt idx="23">
                  <c:v>254.33</c:v>
                </c:pt>
                <c:pt idx="24">
                  <c:v>319.0</c:v>
                </c:pt>
                <c:pt idx="25">
                  <c:v>220.0</c:v>
                </c:pt>
                <c:pt idx="26">
                  <c:v>286.0</c:v>
                </c:pt>
                <c:pt idx="27">
                  <c:v>311.0</c:v>
                </c:pt>
                <c:pt idx="28">
                  <c:v>423.9</c:v>
                </c:pt>
                <c:pt idx="29">
                  <c:v>278.0</c:v>
                </c:pt>
                <c:pt idx="30">
                  <c:v>393.9</c:v>
                </c:pt>
                <c:pt idx="31">
                  <c:v>188.0</c:v>
                </c:pt>
                <c:pt idx="32">
                  <c:v>326.0</c:v>
                </c:pt>
                <c:pt idx="33">
                  <c:v>349.0</c:v>
                </c:pt>
                <c:pt idx="34">
                  <c:v>310.0</c:v>
                </c:pt>
                <c:pt idx="35">
                  <c:v>365.0</c:v>
                </c:pt>
                <c:pt idx="36">
                  <c:v>175.0</c:v>
                </c:pt>
                <c:pt idx="37">
                  <c:v>314.0</c:v>
                </c:pt>
                <c:pt idx="38">
                  <c:v>2165.0</c:v>
                </c:pt>
                <c:pt idx="39">
                  <c:v>216.0</c:v>
                </c:pt>
                <c:pt idx="40">
                  <c:v>265.0</c:v>
                </c:pt>
                <c:pt idx="41">
                  <c:v>329.0</c:v>
                </c:pt>
                <c:pt idx="42">
                  <c:v>779.0</c:v>
                </c:pt>
                <c:pt idx="43">
                  <c:v>329.0</c:v>
                </c:pt>
                <c:pt idx="44">
                  <c:v>426.0</c:v>
                </c:pt>
                <c:pt idx="45">
                  <c:v>399.0</c:v>
                </c:pt>
                <c:pt idx="46">
                  <c:v>19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pt idx="5">
                  <c:v>Edgewell Hawaiian Tropic Island Sport Sunscreen Adults Sport Liquido 50 60Ml</c:v>
                </c:pt>
              </c:strCache>
            </c:strRef>
          </c:cat>
          <c:val>
            <c:numRef>
              <c:f>Sheet1!$B$2:$B$7</c:f>
              <c:numCache>
                <c:formatCode>General</c:formatCode>
                <c:ptCount val="6"/>
                <c:pt idx="0">
                  <c:v>305.0</c:v>
                </c:pt>
                <c:pt idx="1">
                  <c:v>335.0</c:v>
                </c:pt>
                <c:pt idx="2">
                  <c:v>385.0</c:v>
                </c:pt>
                <c:pt idx="3">
                  <c:v>249.0</c:v>
                </c:pt>
                <c:pt idx="4">
                  <c:v>21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7.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249.0</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2.0</a:t>
                    </a:r>
                  </a:p>
                </c:rich>
              </c:tx>
              <c:showLegendKey val="0"/>
              <c:showVal val="1"/>
              <c:showCatName val="0"/>
              <c:showSerName val="0"/>
              <c:showPercent val="0"/>
              <c:showBubbleSize val="0"/>
            </c:dLbl>
            <c:dLbl>
              <c:idx val="9"/>
              <c:tx>
                <c:rich>
                  <a:bodyPr/>
                  <a:lstStyle/>
                  <a:p>
                    <a:r>
                      <a:t>240.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79.0</a:t>
                    </a:r>
                  </a:p>
                </c:rich>
              </c:tx>
              <c:showLegendKey val="0"/>
              <c:showVal val="1"/>
              <c:showCatName val="0"/>
              <c:showSerName val="0"/>
              <c:showPercent val="0"/>
              <c:showBubbleSize val="0"/>
            </c:dLbl>
            <c:dLbl>
              <c:idx val="13"/>
              <c:tx>
                <c:rich>
                  <a:bodyPr/>
                  <a:lstStyle/>
                  <a:p>
                    <a:r>
                      <a:t>350.0</a:t>
                    </a:r>
                  </a:p>
                </c:rich>
              </c:tx>
              <c:showLegendKey val="0"/>
              <c:showVal val="1"/>
              <c:showCatName val="0"/>
              <c:showSerName val="0"/>
              <c:showPercent val="0"/>
              <c:showBubbleSize val="0"/>
            </c:dLbl>
            <c:dLbl>
              <c:idx val="14"/>
              <c:tx>
                <c:rich>
                  <a:bodyPr/>
                  <a:lstStyle/>
                  <a:p>
                    <a:r>
                      <a:t>205.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350.0</a:t>
                    </a:r>
                  </a:p>
                </c:rich>
              </c:tx>
              <c:showLegendKey val="0"/>
              <c:showVal val="1"/>
              <c:showCatName val="0"/>
              <c:showSerName val="0"/>
              <c:showPercent val="0"/>
              <c:showBubbleSize val="0"/>
            </c:dLbl>
            <c:dLbl>
              <c:idx val="17"/>
              <c:tx>
                <c:rich>
                  <a:bodyPr/>
                  <a:lstStyle/>
                  <a:p>
                    <a:r>
                      <a:t>125.0</a:t>
                    </a:r>
                  </a:p>
                </c:rich>
              </c:tx>
              <c:showLegendKey val="0"/>
              <c:showVal val="1"/>
              <c:showCatName val="0"/>
              <c:showSerName val="0"/>
              <c:showPercent val="0"/>
              <c:showBubbleSize val="0"/>
            </c:dLbl>
            <c:dLbl>
              <c:idx val="18"/>
              <c:tx>
                <c:rich>
                  <a:bodyPr/>
                  <a:lstStyle/>
                  <a:p>
                    <a:r>
                      <a:t>385.0</a:t>
                    </a:r>
                  </a:p>
                </c:rich>
              </c:tx>
              <c:showLegendKey val="0"/>
              <c:showVal val="1"/>
              <c:showCatName val="0"/>
              <c:showSerName val="0"/>
              <c:showPercent val="0"/>
              <c:showBubbleSize val="0"/>
            </c:dLbl>
            <c:dLbl>
              <c:idx val="19"/>
              <c:tx>
                <c:rich>
                  <a:bodyPr/>
                  <a:lstStyle/>
                  <a:p>
                    <a:r>
                      <a:t>299.0</a:t>
                    </a:r>
                  </a:p>
                </c:rich>
              </c:tx>
              <c:showLegendKey val="0"/>
              <c:showVal val="1"/>
              <c:showCatName val="0"/>
              <c:showSerName val="0"/>
              <c:showPercent val="0"/>
              <c:showBubbleSize val="0"/>
            </c:dLbl>
            <c:dLbl>
              <c:idx val="20"/>
              <c:tx>
                <c:rich>
                  <a:bodyPr/>
                  <a:lstStyle/>
                  <a:p>
                    <a:r>
                      <a:t>205.0</a:t>
                    </a:r>
                  </a:p>
                </c:rich>
              </c:tx>
              <c:showLegendKey val="0"/>
              <c:showVal val="1"/>
              <c:showCatName val="0"/>
              <c:showSerName val="0"/>
              <c:showPercent val="0"/>
              <c:showBubbleSize val="0"/>
            </c:dLbl>
            <c:dLbl>
              <c:idx val="21"/>
              <c:tx>
                <c:rich>
                  <a:bodyPr/>
                  <a:lstStyle/>
                  <a:p>
                    <a:r>
                      <a:t>105.0</a:t>
                    </a:r>
                  </a:p>
                </c:rich>
              </c:tx>
              <c:showLegendKey val="0"/>
              <c:showVal val="1"/>
              <c:showCatName val="0"/>
              <c:showSerName val="0"/>
              <c:showPercent val="0"/>
              <c:showBubbleSize val="0"/>
            </c:dLbl>
            <c:dLbl>
              <c:idx val="2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Dry Balance Sunscreen Adults Cosmetics Spray Crema 50+ 220Ml</c:v>
                </c:pt>
                <c:pt idx="6">
                  <c:v>Edgewell Banana Boat Kids Sport Sunscreen Kids Cosmetics Crema 50 180Ml</c:v>
                </c:pt>
                <c:pt idx="7">
                  <c:v>Edgewell Banana Boat Mineral Sunscreen Adults Cosmetics Locion 50 60Ml</c:v>
                </c:pt>
                <c:pt idx="8">
                  <c:v>Edgewell Banana Boat Mineral Sunscreen Kids Cosmetics Locion 50 180Ml</c:v>
                </c:pt>
                <c:pt idx="9">
                  <c:v>Edgewell Beauty Care Antioxidant Sunscreen Adults Cosmetics Liquido 15 - 19 100Ml</c:v>
                </c:pt>
                <c:pt idx="10">
                  <c:v>Edgewell Beauty Care Antioxidant Sunscreen Adults Cosmetics Liquido 50+ 50Ml</c:v>
                </c:pt>
                <c:pt idx="11">
                  <c:v>Edgewell Beauty Care Matte Sunscreen Adults Cosmetics Liquido 30 50Ml</c:v>
                </c:pt>
                <c:pt idx="12">
                  <c:v>Edgewell Beauty Care Sensitive Sunscreen Adults Cosmetics Liquido 50+ 50Ml</c:v>
                </c:pt>
                <c:pt idx="13">
                  <c:v>Edgewell Hawaiian Tropic Other Sunscreen Adults Cosmetics Crema 50+ 240Ml</c:v>
                </c:pt>
                <c:pt idx="14">
                  <c:v>Edgewell Hawaiian Tropic Ozono Sunscreen Adults Cosmetics Liquido 50+ 120Ml</c:v>
                </c:pt>
                <c:pt idx="15">
                  <c:v>Edgewell Hawaiian Tropic Ozono Sunscreen Adults Cosmetics Liquido 50+ 180Ml</c:v>
                </c:pt>
                <c:pt idx="16">
                  <c:v>Edgewell Hawaiian Tropic Ozono Sunscreen Adults Cosmetics Liquido 50+ 240Ml</c:v>
                </c:pt>
                <c:pt idx="17">
                  <c:v>Edgewell Hawaiian Tropic Ozono Sunscreen Adults Cosmetics Liquido 50+ 90Ml</c:v>
                </c:pt>
                <c:pt idx="18">
                  <c:v>Edgewell Hawaiian Tropic Ozono Sunscreen Adults Cosmetics Spray Liquido 50+ 180Ml</c:v>
                </c:pt>
                <c:pt idx="19">
                  <c:v>Edgewell Hawaiian Tropic Sheer Touch Sunscreen Adults Cosmetics Crema 30 - 49 240Ml</c:v>
                </c:pt>
                <c:pt idx="20">
                  <c:v>Edgewell Hawaiian Tropic Sheer Touch Sunscreen Adults Cosmetics Crema 50 120Ml</c:v>
                </c:pt>
                <c:pt idx="21">
                  <c:v>Edgewell Hawaiian Tropic Sheer Touch Sunscreen Adults Cosmetics Liquido 30 - 49 60Ml</c:v>
                </c:pt>
                <c:pt idx="22">
                  <c:v>Edgewell Hawaiian Tropic Tanning Sunscreen Adults Cosmetics Spray Liquido 15 - 19 220Ml</c:v>
                </c:pt>
              </c:strCache>
            </c:strRef>
          </c:cat>
          <c:val>
            <c:numRef>
              <c:f>Sheet1!$B$2:$B$24</c:f>
              <c:numCache>
                <c:formatCode>General</c:formatCode>
                <c:ptCount val="23"/>
                <c:pt idx="0">
                  <c:v>310.0</c:v>
                </c:pt>
                <c:pt idx="1">
                  <c:v>305.0</c:v>
                </c:pt>
                <c:pt idx="2">
                  <c:v>349.0</c:v>
                </c:pt>
                <c:pt idx="3">
                  <c:v>367.5</c:v>
                </c:pt>
                <c:pt idx="4">
                  <c:v>305.0</c:v>
                </c:pt>
                <c:pt idx="5">
                  <c:v>249.0</c:v>
                </c:pt>
                <c:pt idx="6">
                  <c:v>305.0</c:v>
                </c:pt>
                <c:pt idx="7">
                  <c:v>310.0</c:v>
                </c:pt>
                <c:pt idx="8">
                  <c:v>242.0</c:v>
                </c:pt>
                <c:pt idx="9">
                  <c:v>240.0</c:v>
                </c:pt>
                <c:pt idx="10">
                  <c:v>179.0</c:v>
                </c:pt>
                <c:pt idx="11">
                  <c:v>179.0</c:v>
                </c:pt>
                <c:pt idx="12">
                  <c:v>179.0</c:v>
                </c:pt>
                <c:pt idx="13">
                  <c:v>350.0</c:v>
                </c:pt>
                <c:pt idx="14">
                  <c:v>205.0</c:v>
                </c:pt>
                <c:pt idx="15">
                  <c:v>350.0</c:v>
                </c:pt>
                <c:pt idx="16">
                  <c:v>350.0</c:v>
                </c:pt>
                <c:pt idx="17">
                  <c:v>125.0</c:v>
                </c:pt>
                <c:pt idx="18">
                  <c:v>385.0</c:v>
                </c:pt>
                <c:pt idx="19">
                  <c:v>299.0</c:v>
                </c:pt>
                <c:pt idx="20">
                  <c:v>205.0</c:v>
                </c:pt>
                <c:pt idx="21">
                  <c:v>105.0</c:v>
                </c:pt>
                <c:pt idx="2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pt idx="5">
                  <c:v>Edgewell Hawaiian Tropic Island Sport Sunscreen Adults Sport Liquido 50 60Ml</c:v>
                </c:pt>
              </c:strCache>
            </c:strRef>
          </c:cat>
          <c:val>
            <c:numRef>
              <c:f>Sheet1!$B$2:$B$7</c:f>
              <c:numCache>
                <c:formatCode>General</c:formatCode>
                <c:ptCount val="6"/>
                <c:pt idx="0">
                  <c:v>305.0</c:v>
                </c:pt>
                <c:pt idx="1">
                  <c:v>335.0</c:v>
                </c:pt>
                <c:pt idx="2">
                  <c:v>385.0</c:v>
                </c:pt>
                <c:pt idx="3">
                  <c:v>249.0</c:v>
                </c:pt>
                <c:pt idx="4">
                  <c:v>21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1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205.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12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299.0</a:t>
                    </a:r>
                  </a:p>
                </c:rich>
              </c:tx>
              <c:showLegendKey val="0"/>
              <c:showVal val="1"/>
              <c:showCatName val="0"/>
              <c:showSerName val="0"/>
              <c:showPercent val="0"/>
              <c:showBubbleSize val="0"/>
            </c:dLbl>
            <c:dLbl>
              <c:idx val="10"/>
              <c:tx>
                <c:rich>
                  <a:bodyPr/>
                  <a:lstStyle/>
                  <a:p>
                    <a:r>
                      <a:t>205.0</a:t>
                    </a:r>
                  </a:p>
                </c:rich>
              </c:tx>
              <c:showLegendKey val="0"/>
              <c:showVal val="1"/>
              <c:showCatName val="0"/>
              <c:showSerName val="0"/>
              <c:showPercent val="0"/>
              <c:showBubbleSize val="0"/>
            </c:dLbl>
            <c:dLbl>
              <c:idx val="11"/>
              <c:tx>
                <c:rich>
                  <a:bodyPr/>
                  <a:lstStyle/>
                  <a:p>
                    <a:r>
                      <a:t>105.0</a:t>
                    </a:r>
                  </a:p>
                </c:rich>
              </c:tx>
              <c:showLegendKey val="0"/>
              <c:showVal val="1"/>
              <c:showCatName val="0"/>
              <c:showSerName val="0"/>
              <c:showPercent val="0"/>
              <c:showBubbleSize val="0"/>
            </c:dLbl>
            <c:dLbl>
              <c:idx val="1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Hawaiian Tropic After Sun After Sun Adults Cosmetics Gel 0 - 5 240Ml</c:v>
                </c:pt>
                <c:pt idx="1">
                  <c:v>Edgewell Hawaiian Tropic Carrot Tanning Adults Cosmetics Crema 10 - 14 240Ml</c:v>
                </c:pt>
                <c:pt idx="2">
                  <c:v>Edgewell Hawaiian Tropic Island Sport Sunscreen Adults Sport Liquido 50 60Ml</c:v>
                </c:pt>
                <c:pt idx="3">
                  <c:v>Edgewell Hawaiian Tropic Other Sunscreen Adults Cosmetics Crema 50+ 240Ml</c:v>
                </c:pt>
                <c:pt idx="4">
                  <c:v>Edgewell Hawaiian Tropic Ozono Sunscreen Adults Cosmetics Liquido 50+ 120Ml</c:v>
                </c:pt>
                <c:pt idx="5">
                  <c:v>Edgewell Hawaiian Tropic Ozono Sunscreen Adults Cosmetics Liquido 50+ 180Ml</c:v>
                </c:pt>
                <c:pt idx="6">
                  <c:v>Edgewell Hawaiian Tropic Ozono Sunscreen Adults Cosmetics Liquido 50+ 240Ml</c:v>
                </c:pt>
                <c:pt idx="7">
                  <c:v>Edgewell Hawaiian Tropic Ozono Sunscreen Adults Cosmetics Liquido 50+ 90Ml</c:v>
                </c:pt>
                <c:pt idx="8">
                  <c:v>Edgewell Hawaiian Tropic Ozono Sunscreen Adults Cosmetics Spray Liquido 50+ 180Ml</c:v>
                </c:pt>
                <c:pt idx="9">
                  <c:v>Edgewell Hawaiian Tropic Sheer Touch Sunscreen Adults Cosmetics Crema 30 - 49 240Ml</c:v>
                </c:pt>
                <c:pt idx="10">
                  <c:v>Edgewell Hawaiian Tropic Sheer Touch Sunscreen Adults Cosmetics Crema 50 120Ml</c:v>
                </c:pt>
                <c:pt idx="11">
                  <c:v>Edgewell Hawaiian Tropic Sheer Touch Sunscreen Adults Cosmetics Liquido 30 - 49 60Ml</c:v>
                </c:pt>
                <c:pt idx="12">
                  <c:v>Edgewell Hawaiian Tropic Tanning Sunscreen Adults Cosmetics Spray Liquido 15 - 19 220Ml</c:v>
                </c:pt>
              </c:strCache>
            </c:strRef>
          </c:cat>
          <c:val>
            <c:numRef>
              <c:f>Sheet1!$B$2:$B$14</c:f>
              <c:numCache>
                <c:formatCode>General</c:formatCode>
                <c:ptCount val="13"/>
                <c:pt idx="0">
                  <c:v>299.0</c:v>
                </c:pt>
                <c:pt idx="1">
                  <c:v>299.0</c:v>
                </c:pt>
                <c:pt idx="2">
                  <c:v>105.0</c:v>
                </c:pt>
                <c:pt idx="3">
                  <c:v>350.0</c:v>
                </c:pt>
                <c:pt idx="4">
                  <c:v>205.0</c:v>
                </c:pt>
                <c:pt idx="5">
                  <c:v>350.0</c:v>
                </c:pt>
                <c:pt idx="6">
                  <c:v>350.0</c:v>
                </c:pt>
                <c:pt idx="7">
                  <c:v>125.0</c:v>
                </c:pt>
                <c:pt idx="8">
                  <c:v>385.0</c:v>
                </c:pt>
                <c:pt idx="9">
                  <c:v>299.0</c:v>
                </c:pt>
                <c:pt idx="10">
                  <c:v>205.0</c:v>
                </c:pt>
                <c:pt idx="11">
                  <c:v>105.0</c:v>
                </c:pt>
                <c:pt idx="1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92.0</a:t>
                    </a:r>
                  </a:p>
                </c:rich>
              </c:tx>
              <c:showLegendKey val="0"/>
              <c:showVal val="1"/>
              <c:showCatName val="0"/>
              <c:showSerName val="0"/>
              <c:showPercent val="0"/>
              <c:showBubbleSize val="0"/>
            </c:dLbl>
            <c:dLbl>
              <c:idx val="2"/>
              <c:tx>
                <c:rich>
                  <a:bodyPr/>
                  <a:lstStyle/>
                  <a:p>
                    <a:r>
                      <a:t>19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fter Sun After Sun Adults Cosmetics Gel 0 - 5 230Ml</c:v>
                </c:pt>
                <c:pt idx="1">
                  <c:v>Beiersdorf Nivea After Sun Adults Cosmetics Crema 0 - 5 200Ml</c:v>
                </c:pt>
                <c:pt idx="2">
                  <c:v>Others Fabricante Unif. Others Marca Unif. After Sun Adults Cosmetics Liquido 0 - 5 165Ml</c:v>
                </c:pt>
              </c:strCache>
            </c:strRef>
          </c:cat>
          <c:val>
            <c:numRef>
              <c:f>Sheet1!$B$2:$B$4</c:f>
              <c:numCache>
                <c:formatCode>General</c:formatCode>
                <c:ptCount val="3"/>
                <c:pt idx="0">
                  <c:v>105.0</c:v>
                </c:pt>
                <c:pt idx="1">
                  <c:v>92.0</c:v>
                </c:pt>
                <c:pt idx="2">
                  <c:v>19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pt idx="5">
                  <c:v>Edgewell Hawaiian Tropic Island Sport Sunscreen Adults Sport Liquido 50 60Ml</c:v>
                </c:pt>
              </c:strCache>
            </c:strRef>
          </c:cat>
          <c:val>
            <c:numRef>
              <c:f>Sheet1!$B$2:$B$7</c:f>
              <c:numCache>
                <c:formatCode>General</c:formatCode>
                <c:ptCount val="6"/>
                <c:pt idx="0">
                  <c:v>305.0</c:v>
                </c:pt>
                <c:pt idx="1">
                  <c:v>335.0</c:v>
                </c:pt>
                <c:pt idx="2">
                  <c:v>385.0</c:v>
                </c:pt>
                <c:pt idx="3">
                  <c:v>249.0</c:v>
                </c:pt>
                <c:pt idx="4">
                  <c:v>21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76.2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2.0</a:t>
                    </a:r>
                  </a:p>
                </c:rich>
              </c:tx>
              <c:showLegendKey val="0"/>
              <c:showVal val="1"/>
              <c:showCatName val="0"/>
              <c:showSerName val="0"/>
              <c:showPercent val="0"/>
              <c:showBubbleSize val="0"/>
            </c:dLbl>
            <c:dLbl>
              <c:idx val="8"/>
              <c:tx>
                <c:rich>
                  <a:bodyPr/>
                  <a:lstStyle/>
                  <a:p>
                    <a:r>
                      <a:t>240.0</a:t>
                    </a:r>
                  </a:p>
                </c:rich>
              </c:tx>
              <c:showLegendKey val="0"/>
              <c:showVal val="1"/>
              <c:showCatName val="0"/>
              <c:showSerName val="0"/>
              <c:showPercent val="0"/>
              <c:showBubbleSize val="0"/>
            </c:dLbl>
            <c:dLbl>
              <c:idx val="9"/>
              <c:tx>
                <c:rich>
                  <a:bodyPr/>
                  <a:lstStyle/>
                  <a:p>
                    <a:r>
                      <a:t>179.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350.0</a:t>
                    </a:r>
                  </a:p>
                </c:rich>
              </c:tx>
              <c:showLegendKey val="0"/>
              <c:showVal val="1"/>
              <c:showCatName val="0"/>
              <c:showSerName val="0"/>
              <c:showPercent val="0"/>
              <c:showBubbleSize val="0"/>
            </c:dLbl>
            <c:dLbl>
              <c:idx val="13"/>
              <c:tx>
                <c:rich>
                  <a:bodyPr/>
                  <a:lstStyle/>
                  <a:p>
                    <a:r>
                      <a:t>205.0</a:t>
                    </a:r>
                  </a:p>
                </c:rich>
              </c:tx>
              <c:showLegendKey val="0"/>
              <c:showVal val="1"/>
              <c:showCatName val="0"/>
              <c:showSerName val="0"/>
              <c:showPercent val="0"/>
              <c:showBubbleSize val="0"/>
            </c:dLbl>
            <c:dLbl>
              <c:idx val="14"/>
              <c:tx>
                <c:rich>
                  <a:bodyPr/>
                  <a:lstStyle/>
                  <a:p>
                    <a:r>
                      <a:t>350.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125.0</a:t>
                    </a:r>
                  </a:p>
                </c:rich>
              </c:tx>
              <c:showLegendKey val="0"/>
              <c:showVal val="1"/>
              <c:showCatName val="0"/>
              <c:showSerName val="0"/>
              <c:showPercent val="0"/>
              <c:showBubbleSize val="0"/>
            </c:dLbl>
            <c:dLbl>
              <c:idx val="17"/>
              <c:tx>
                <c:rich>
                  <a:bodyPr/>
                  <a:lstStyle/>
                  <a:p>
                    <a:r>
                      <a:t>385.0</a:t>
                    </a:r>
                  </a:p>
                </c:rich>
              </c:tx>
              <c:showLegendKey val="0"/>
              <c:showVal val="1"/>
              <c:showCatName val="0"/>
              <c:showSerName val="0"/>
              <c:showPercent val="0"/>
              <c:showBubbleSize val="0"/>
            </c:dLbl>
            <c:dLbl>
              <c:idx val="18"/>
              <c:tx>
                <c:rich>
                  <a:bodyPr/>
                  <a:lstStyle/>
                  <a:p>
                    <a:r>
                      <a:t>299.0</a:t>
                    </a:r>
                  </a:p>
                </c:rich>
              </c:tx>
              <c:showLegendKey val="0"/>
              <c:showVal val="1"/>
              <c:showCatName val="0"/>
              <c:showSerName val="0"/>
              <c:showPercent val="0"/>
              <c:showBubbleSize val="0"/>
            </c:dLbl>
            <c:dLbl>
              <c:idx val="19"/>
              <c:tx>
                <c:rich>
                  <a:bodyPr/>
                  <a:lstStyle/>
                  <a:p>
                    <a:r>
                      <a:t>205.0</a:t>
                    </a:r>
                  </a:p>
                </c:rich>
              </c:tx>
              <c:showLegendKey val="0"/>
              <c:showVal val="1"/>
              <c:showCatName val="0"/>
              <c:showSerName val="0"/>
              <c:showPercent val="0"/>
              <c:showBubbleSize val="0"/>
            </c:dLbl>
            <c:dLbl>
              <c:idx val="20"/>
              <c:tx>
                <c:rich>
                  <a:bodyPr/>
                  <a:lstStyle/>
                  <a:p>
                    <a:r>
                      <a:t>105.0</a:t>
                    </a:r>
                  </a:p>
                </c:rich>
              </c:tx>
              <c:showLegendKey val="0"/>
              <c:showVal val="1"/>
              <c:showCatName val="0"/>
              <c:showSerName val="0"/>
              <c:showPercent val="0"/>
              <c:showBubbleSize val="0"/>
            </c:dLbl>
            <c:dLbl>
              <c:idx val="21"/>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Kids Sport Sunscreen Kids Cosmetics Crema 50 180Ml</c:v>
                </c:pt>
                <c:pt idx="6">
                  <c:v>Edgewell Banana Boat Mineral Sunscreen Adults Cosmetics Locion 50 60Ml</c:v>
                </c:pt>
                <c:pt idx="7">
                  <c:v>Edgewell Banana Boat Mineral Sunscreen Kids Cosmetics Locion 50 180Ml</c:v>
                </c:pt>
                <c:pt idx="8">
                  <c:v>Edgewell Beauty Care Antioxidant Sunscreen Adults Cosmetics Liquido 15 - 19 100Ml</c:v>
                </c:pt>
                <c:pt idx="9">
                  <c:v>Edgewell Beauty Care Antioxidant Sunscreen Adults Cosmetics Liquido 50+ 50Ml</c:v>
                </c:pt>
                <c:pt idx="10">
                  <c:v>Edgewell Beauty Care Matte Sunscreen Adults Cosmetics Liquido 30 50Ml</c:v>
                </c:pt>
                <c:pt idx="11">
                  <c:v>Edgewell Beauty Care Sensitive Sunscreen Adults Cosmetics Liquido 50+ 50Ml</c:v>
                </c:pt>
                <c:pt idx="12">
                  <c:v>Edgewell Hawaiian Tropic Other Sunscreen Adults Cosmetics Crema 50+ 240Ml</c:v>
                </c:pt>
                <c:pt idx="13">
                  <c:v>Edgewell Hawaiian Tropic Ozono Sunscreen Adults Cosmetics Liquido 50+ 120Ml</c:v>
                </c:pt>
                <c:pt idx="14">
                  <c:v>Edgewell Hawaiian Tropic Ozono Sunscreen Adults Cosmetics Liquido 50+ 180Ml</c:v>
                </c:pt>
                <c:pt idx="15">
                  <c:v>Edgewell Hawaiian Tropic Ozono Sunscreen Adults Cosmetics Liquido 50+ 240Ml</c:v>
                </c:pt>
                <c:pt idx="16">
                  <c:v>Edgewell Hawaiian Tropic Ozono Sunscreen Adults Cosmetics Liquido 50+ 90Ml</c:v>
                </c:pt>
                <c:pt idx="17">
                  <c:v>Edgewell Hawaiian Tropic Ozono Sunscreen Adults Cosmetics Spray Liquido 50+ 180Ml</c:v>
                </c:pt>
                <c:pt idx="18">
                  <c:v>Edgewell Hawaiian Tropic Sheer Touch Sunscreen Adults Cosmetics Crema 30 - 49 240Ml</c:v>
                </c:pt>
                <c:pt idx="19">
                  <c:v>Edgewell Hawaiian Tropic Sheer Touch Sunscreen Adults Cosmetics Crema 50 120Ml</c:v>
                </c:pt>
                <c:pt idx="20">
                  <c:v>Edgewell Hawaiian Tropic Sheer Touch Sunscreen Adults Cosmetics Liquido 30 - 49 60Ml</c:v>
                </c:pt>
                <c:pt idx="21">
                  <c:v>Edgewell Hawaiian Tropic Tanning Sunscreen Adults Cosmetics Spray Liquido 15 - 19 220Ml</c:v>
                </c:pt>
              </c:strCache>
            </c:strRef>
          </c:cat>
          <c:val>
            <c:numRef>
              <c:f>Sheet1!$B$2:$B$23</c:f>
              <c:numCache>
                <c:formatCode>General</c:formatCode>
                <c:ptCount val="22"/>
                <c:pt idx="0">
                  <c:v>310.0</c:v>
                </c:pt>
                <c:pt idx="1">
                  <c:v>305.0</c:v>
                </c:pt>
                <c:pt idx="2">
                  <c:v>349.0</c:v>
                </c:pt>
                <c:pt idx="3">
                  <c:v>376.25</c:v>
                </c:pt>
                <c:pt idx="4">
                  <c:v>305.0</c:v>
                </c:pt>
                <c:pt idx="5">
                  <c:v>305.0</c:v>
                </c:pt>
                <c:pt idx="6">
                  <c:v>310.0</c:v>
                </c:pt>
                <c:pt idx="7">
                  <c:v>242.0</c:v>
                </c:pt>
                <c:pt idx="8">
                  <c:v>240.0</c:v>
                </c:pt>
                <c:pt idx="9">
                  <c:v>179.0</c:v>
                </c:pt>
                <c:pt idx="10">
                  <c:v>179.0</c:v>
                </c:pt>
                <c:pt idx="11">
                  <c:v>179.0</c:v>
                </c:pt>
                <c:pt idx="12">
                  <c:v>350.0</c:v>
                </c:pt>
                <c:pt idx="13">
                  <c:v>205.0</c:v>
                </c:pt>
                <c:pt idx="14">
                  <c:v>350.0</c:v>
                </c:pt>
                <c:pt idx="15">
                  <c:v>350.0</c:v>
                </c:pt>
                <c:pt idx="16">
                  <c:v>125.0</c:v>
                </c:pt>
                <c:pt idx="17">
                  <c:v>385.0</c:v>
                </c:pt>
                <c:pt idx="18">
                  <c:v>299.0</c:v>
                </c:pt>
                <c:pt idx="19">
                  <c:v>205.0</c:v>
                </c:pt>
                <c:pt idx="20">
                  <c:v>105.0</c:v>
                </c:pt>
                <c:pt idx="21">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pt idx="5">
                  <c:v>Edgewell Hawaiian Tropic Island Sport Sunscreen Adults Sport Liquido 50 60Ml</c:v>
                </c:pt>
              </c:strCache>
            </c:strRef>
          </c:cat>
          <c:val>
            <c:numRef>
              <c:f>Sheet1!$B$2:$B$7</c:f>
              <c:numCache>
                <c:formatCode>General</c:formatCode>
                <c:ptCount val="6"/>
                <c:pt idx="0">
                  <c:v>305.0</c:v>
                </c:pt>
                <c:pt idx="1">
                  <c:v>335.0</c:v>
                </c:pt>
                <c:pt idx="2">
                  <c:v>385.0</c:v>
                </c:pt>
                <c:pt idx="3">
                  <c:v>249.0</c:v>
                </c:pt>
                <c:pt idx="4">
                  <c:v>21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7.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2.0</a:t>
                    </a:r>
                  </a:p>
                </c:rich>
              </c:tx>
              <c:showLegendKey val="0"/>
              <c:showVal val="1"/>
              <c:showCatName val="0"/>
              <c:showSerName val="0"/>
              <c:showPercent val="0"/>
              <c:showBubbleSize val="0"/>
            </c:dLbl>
            <c:dLbl>
              <c:idx val="8"/>
              <c:tx>
                <c:rich>
                  <a:bodyPr/>
                  <a:lstStyle/>
                  <a:p>
                    <a:r>
                      <a:t>179.0</a:t>
                    </a:r>
                  </a:p>
                </c:rich>
              </c:tx>
              <c:showLegendKey val="0"/>
              <c:showVal val="1"/>
              <c:showCatName val="0"/>
              <c:showSerName val="0"/>
              <c:showPercent val="0"/>
              <c:showBubbleSize val="0"/>
            </c:dLbl>
            <c:dLbl>
              <c:idx val="9"/>
              <c:tx>
                <c:rich>
                  <a:bodyPr/>
                  <a:lstStyle/>
                  <a:p>
                    <a:r>
                      <a:t>179.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350.0</a:t>
                    </a:r>
                  </a:p>
                </c:rich>
              </c:tx>
              <c:showLegendKey val="0"/>
              <c:showVal val="1"/>
              <c:showCatName val="0"/>
              <c:showSerName val="0"/>
              <c:showPercent val="0"/>
              <c:showBubbleSize val="0"/>
            </c:dLbl>
            <c:dLbl>
              <c:idx val="12"/>
              <c:tx>
                <c:rich>
                  <a:bodyPr/>
                  <a:lstStyle/>
                  <a:p>
                    <a:r>
                      <a:t>205.0</a:t>
                    </a:r>
                  </a:p>
                </c:rich>
              </c:tx>
              <c:showLegendKey val="0"/>
              <c:showVal val="1"/>
              <c:showCatName val="0"/>
              <c:showSerName val="0"/>
              <c:showPercent val="0"/>
              <c:showBubbleSize val="0"/>
            </c:dLbl>
            <c:dLbl>
              <c:idx val="13"/>
              <c:tx>
                <c:rich>
                  <a:bodyPr/>
                  <a:lstStyle/>
                  <a:p>
                    <a:r>
                      <a:t>350.0</a:t>
                    </a:r>
                  </a:p>
                </c:rich>
              </c:tx>
              <c:showLegendKey val="0"/>
              <c:showVal val="1"/>
              <c:showCatName val="0"/>
              <c:showSerName val="0"/>
              <c:showPercent val="0"/>
              <c:showBubbleSize val="0"/>
            </c:dLbl>
            <c:dLbl>
              <c:idx val="14"/>
              <c:tx>
                <c:rich>
                  <a:bodyPr/>
                  <a:lstStyle/>
                  <a:p>
                    <a:r>
                      <a:t>125.0</a:t>
                    </a:r>
                  </a:p>
                </c:rich>
              </c:tx>
              <c:showLegendKey val="0"/>
              <c:showVal val="1"/>
              <c:showCatName val="0"/>
              <c:showSerName val="0"/>
              <c:showPercent val="0"/>
              <c:showBubbleSize val="0"/>
            </c:dLbl>
            <c:dLbl>
              <c:idx val="15"/>
              <c:tx>
                <c:rich>
                  <a:bodyPr/>
                  <a:lstStyle/>
                  <a:p>
                    <a:r>
                      <a:t>385.0</a:t>
                    </a:r>
                  </a:p>
                </c:rich>
              </c:tx>
              <c:showLegendKey val="0"/>
              <c:showVal val="1"/>
              <c:showCatName val="0"/>
              <c:showSerName val="0"/>
              <c:showPercent val="0"/>
              <c:showBubbleSize val="0"/>
            </c:dLbl>
            <c:dLbl>
              <c:idx val="16"/>
              <c:tx>
                <c:rich>
                  <a:bodyPr/>
                  <a:lstStyle/>
                  <a:p>
                    <a:r>
                      <a:t>299.0</a:t>
                    </a:r>
                  </a:p>
                </c:rich>
              </c:tx>
              <c:showLegendKey val="0"/>
              <c:showVal val="1"/>
              <c:showCatName val="0"/>
              <c:showSerName val="0"/>
              <c:showPercent val="0"/>
              <c:showBubbleSize val="0"/>
            </c:dLbl>
            <c:dLbl>
              <c:idx val="17"/>
              <c:tx>
                <c:rich>
                  <a:bodyPr/>
                  <a:lstStyle/>
                  <a:p>
                    <a:r>
                      <a:t>205.0</a:t>
                    </a:r>
                  </a:p>
                </c:rich>
              </c:tx>
              <c:showLegendKey val="0"/>
              <c:showVal val="1"/>
              <c:showCatName val="0"/>
              <c:showSerName val="0"/>
              <c:showPercent val="0"/>
              <c:showBubbleSize val="0"/>
            </c:dLbl>
            <c:dLbl>
              <c:idx val="18"/>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Kids Sport Sunscreen Kids Cosmetics Crema 50 180Ml</c:v>
                </c:pt>
                <c:pt idx="6">
                  <c:v>Edgewell Banana Boat Mineral Sunscreen Adults Cosmetics Locion 50 60Ml</c:v>
                </c:pt>
                <c:pt idx="7">
                  <c:v>Edgewell Banana Boat Mineral Sunscreen Kids Cosmetics Locion 50 180Ml</c:v>
                </c:pt>
                <c:pt idx="8">
                  <c:v>Edgewell Beauty Care Antioxidant Sunscreen Adults Cosmetics Liquido 50+ 50Ml</c:v>
                </c:pt>
                <c:pt idx="9">
                  <c:v>Edgewell Beauty Care Matte Sunscreen Adults Cosmetics Liquido 30 50Ml</c:v>
                </c:pt>
                <c:pt idx="10">
                  <c:v>Edgewell Beauty Care Sensitive Sunscreen Adults Cosmetics Liquido 50+ 50Ml</c:v>
                </c:pt>
                <c:pt idx="11">
                  <c:v>Edgewell Hawaiian Tropic Other Sunscreen Adults Cosmetics Crema 50+ 240Ml</c:v>
                </c:pt>
                <c:pt idx="12">
                  <c:v>Edgewell Hawaiian Tropic Ozono Sunscreen Adults Cosmetics Liquido 50+ 120Ml</c:v>
                </c:pt>
                <c:pt idx="13">
                  <c:v>Edgewell Hawaiian Tropic Ozono Sunscreen Adults Cosmetics Liquido 50+ 240Ml</c:v>
                </c:pt>
                <c:pt idx="14">
                  <c:v>Edgewell Hawaiian Tropic Ozono Sunscreen Adults Cosmetics Liquido 50+ 90Ml</c:v>
                </c:pt>
                <c:pt idx="15">
                  <c:v>Edgewell Hawaiian Tropic Ozono Sunscreen Adults Cosmetics Spray Liquido 50+ 180Ml</c:v>
                </c:pt>
                <c:pt idx="16">
                  <c:v>Edgewell Hawaiian Tropic Sheer Touch Sunscreen Adults Cosmetics Crema 30 - 49 240Ml</c:v>
                </c:pt>
                <c:pt idx="17">
                  <c:v>Edgewell Hawaiian Tropic Sheer Touch Sunscreen Adults Cosmetics Crema 50 120Ml</c:v>
                </c:pt>
                <c:pt idx="18">
                  <c:v>Edgewell Hawaiian Tropic Sheer Touch Sunscreen Adults Cosmetics Liquido 30 - 49 60Ml</c:v>
                </c:pt>
              </c:strCache>
            </c:strRef>
          </c:cat>
          <c:val>
            <c:numRef>
              <c:f>Sheet1!$B$2:$B$20</c:f>
              <c:numCache>
                <c:formatCode>General</c:formatCode>
                <c:ptCount val="19"/>
                <c:pt idx="0">
                  <c:v>310.0</c:v>
                </c:pt>
                <c:pt idx="1">
                  <c:v>305.0</c:v>
                </c:pt>
                <c:pt idx="2">
                  <c:v>349.0</c:v>
                </c:pt>
                <c:pt idx="3">
                  <c:v>367.5</c:v>
                </c:pt>
                <c:pt idx="4">
                  <c:v>305.0</c:v>
                </c:pt>
                <c:pt idx="5">
                  <c:v>305.0</c:v>
                </c:pt>
                <c:pt idx="6">
                  <c:v>310.0</c:v>
                </c:pt>
                <c:pt idx="7">
                  <c:v>242.0</c:v>
                </c:pt>
                <c:pt idx="8">
                  <c:v>179.0</c:v>
                </c:pt>
                <c:pt idx="9">
                  <c:v>179.0</c:v>
                </c:pt>
                <c:pt idx="10">
                  <c:v>179.0</c:v>
                </c:pt>
                <c:pt idx="11">
                  <c:v>350.0</c:v>
                </c:pt>
                <c:pt idx="12">
                  <c:v>205.0</c:v>
                </c:pt>
                <c:pt idx="13">
                  <c:v>350.0</c:v>
                </c:pt>
                <c:pt idx="14">
                  <c:v>125.0</c:v>
                </c:pt>
                <c:pt idx="15">
                  <c:v>385.0</c:v>
                </c:pt>
                <c:pt idx="16">
                  <c:v>299.0</c:v>
                </c:pt>
                <c:pt idx="17">
                  <c:v>205.0</c:v>
                </c:pt>
                <c:pt idx="18">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7.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249.0</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2.0</a:t>
                    </a:r>
                  </a:p>
                </c:rich>
              </c:tx>
              <c:showLegendKey val="0"/>
              <c:showVal val="1"/>
              <c:showCatName val="0"/>
              <c:showSerName val="0"/>
              <c:showPercent val="0"/>
              <c:showBubbleSize val="0"/>
            </c:dLbl>
            <c:dLbl>
              <c:idx val="9"/>
              <c:tx>
                <c:rich>
                  <a:bodyPr/>
                  <a:lstStyle/>
                  <a:p>
                    <a:r>
                      <a:t>240.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79.0</a:t>
                    </a:r>
                  </a:p>
                </c:rich>
              </c:tx>
              <c:showLegendKey val="0"/>
              <c:showVal val="1"/>
              <c:showCatName val="0"/>
              <c:showSerName val="0"/>
              <c:showPercent val="0"/>
              <c:showBubbleSize val="0"/>
            </c:dLbl>
            <c:dLbl>
              <c:idx val="13"/>
              <c:tx>
                <c:rich>
                  <a:bodyPr/>
                  <a:lstStyle/>
                  <a:p>
                    <a:r>
                      <a:t>350.0</a:t>
                    </a:r>
                  </a:p>
                </c:rich>
              </c:tx>
              <c:showLegendKey val="0"/>
              <c:showVal val="1"/>
              <c:showCatName val="0"/>
              <c:showSerName val="0"/>
              <c:showPercent val="0"/>
              <c:showBubbleSize val="0"/>
            </c:dLbl>
            <c:dLbl>
              <c:idx val="14"/>
              <c:tx>
                <c:rich>
                  <a:bodyPr/>
                  <a:lstStyle/>
                  <a:p>
                    <a:r>
                      <a:t>205.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350.0</a:t>
                    </a:r>
                  </a:p>
                </c:rich>
              </c:tx>
              <c:showLegendKey val="0"/>
              <c:showVal val="1"/>
              <c:showCatName val="0"/>
              <c:showSerName val="0"/>
              <c:showPercent val="0"/>
              <c:showBubbleSize val="0"/>
            </c:dLbl>
            <c:dLbl>
              <c:idx val="17"/>
              <c:tx>
                <c:rich>
                  <a:bodyPr/>
                  <a:lstStyle/>
                  <a:p>
                    <a:r>
                      <a:t>125.0</a:t>
                    </a:r>
                  </a:p>
                </c:rich>
              </c:tx>
              <c:showLegendKey val="0"/>
              <c:showVal val="1"/>
              <c:showCatName val="0"/>
              <c:showSerName val="0"/>
              <c:showPercent val="0"/>
              <c:showBubbleSize val="0"/>
            </c:dLbl>
            <c:dLbl>
              <c:idx val="18"/>
              <c:tx>
                <c:rich>
                  <a:bodyPr/>
                  <a:lstStyle/>
                  <a:p>
                    <a:r>
                      <a:t>385.0</a:t>
                    </a:r>
                  </a:p>
                </c:rich>
              </c:tx>
              <c:showLegendKey val="0"/>
              <c:showVal val="1"/>
              <c:showCatName val="0"/>
              <c:showSerName val="0"/>
              <c:showPercent val="0"/>
              <c:showBubbleSize val="0"/>
            </c:dLbl>
            <c:dLbl>
              <c:idx val="19"/>
              <c:tx>
                <c:rich>
                  <a:bodyPr/>
                  <a:lstStyle/>
                  <a:p>
                    <a:r>
                      <a:t>299.0</a:t>
                    </a:r>
                  </a:p>
                </c:rich>
              </c:tx>
              <c:showLegendKey val="0"/>
              <c:showVal val="1"/>
              <c:showCatName val="0"/>
              <c:showSerName val="0"/>
              <c:showPercent val="0"/>
              <c:showBubbleSize val="0"/>
            </c:dLbl>
            <c:dLbl>
              <c:idx val="20"/>
              <c:tx>
                <c:rich>
                  <a:bodyPr/>
                  <a:lstStyle/>
                  <a:p>
                    <a:r>
                      <a:t>205.0</a:t>
                    </a:r>
                  </a:p>
                </c:rich>
              </c:tx>
              <c:showLegendKey val="0"/>
              <c:showVal val="1"/>
              <c:showCatName val="0"/>
              <c:showSerName val="0"/>
              <c:showPercent val="0"/>
              <c:showBubbleSize val="0"/>
            </c:dLbl>
            <c:dLbl>
              <c:idx val="21"/>
              <c:tx>
                <c:rich>
                  <a:bodyPr/>
                  <a:lstStyle/>
                  <a:p>
                    <a:r>
                      <a:t>105.0</a:t>
                    </a:r>
                  </a:p>
                </c:rich>
              </c:tx>
              <c:showLegendKey val="0"/>
              <c:showVal val="1"/>
              <c:showCatName val="0"/>
              <c:showSerName val="0"/>
              <c:showPercent val="0"/>
              <c:showBubbleSize val="0"/>
            </c:dLbl>
            <c:dLbl>
              <c:idx val="2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Dry Balance Sunscreen Adults Cosmetics Spray Crema 50+ 220Ml</c:v>
                </c:pt>
                <c:pt idx="6">
                  <c:v>Edgewell Banana Boat Kids Sport Sunscreen Kids Cosmetics Crema 50 180Ml</c:v>
                </c:pt>
                <c:pt idx="7">
                  <c:v>Edgewell Banana Boat Mineral Sunscreen Adults Cosmetics Locion 50 60Ml</c:v>
                </c:pt>
                <c:pt idx="8">
                  <c:v>Edgewell Banana Boat Mineral Sunscreen Kids Cosmetics Locion 50 180Ml</c:v>
                </c:pt>
                <c:pt idx="9">
                  <c:v>Edgewell Beauty Care Antioxidant Sunscreen Adults Cosmetics Liquido 15 - 19 100Ml</c:v>
                </c:pt>
                <c:pt idx="10">
                  <c:v>Edgewell Beauty Care Antioxidant Sunscreen Adults Cosmetics Liquido 50+ 50Ml</c:v>
                </c:pt>
                <c:pt idx="11">
                  <c:v>Edgewell Beauty Care Matte Sunscreen Adults Cosmetics Liquido 30 50Ml</c:v>
                </c:pt>
                <c:pt idx="12">
                  <c:v>Edgewell Beauty Care Sensitive Sunscreen Adults Cosmetics Liquido 50+ 50Ml</c:v>
                </c:pt>
                <c:pt idx="13">
                  <c:v>Edgewell Hawaiian Tropic Other Sunscreen Adults Cosmetics Crema 50+ 240Ml</c:v>
                </c:pt>
                <c:pt idx="14">
                  <c:v>Edgewell Hawaiian Tropic Ozono Sunscreen Adults Cosmetics Liquido 50+ 120Ml</c:v>
                </c:pt>
                <c:pt idx="15">
                  <c:v>Edgewell Hawaiian Tropic Ozono Sunscreen Adults Cosmetics Liquido 50+ 180Ml</c:v>
                </c:pt>
                <c:pt idx="16">
                  <c:v>Edgewell Hawaiian Tropic Ozono Sunscreen Adults Cosmetics Liquido 50+ 240Ml</c:v>
                </c:pt>
                <c:pt idx="17">
                  <c:v>Edgewell Hawaiian Tropic Ozono Sunscreen Adults Cosmetics Liquido 50+ 90Ml</c:v>
                </c:pt>
                <c:pt idx="18">
                  <c:v>Edgewell Hawaiian Tropic Ozono Sunscreen Adults Cosmetics Spray Liquido 50+ 180Ml</c:v>
                </c:pt>
                <c:pt idx="19">
                  <c:v>Edgewell Hawaiian Tropic Sheer Touch Sunscreen Adults Cosmetics Crema 30 - 49 240Ml</c:v>
                </c:pt>
                <c:pt idx="20">
                  <c:v>Edgewell Hawaiian Tropic Sheer Touch Sunscreen Adults Cosmetics Crema 50 120Ml</c:v>
                </c:pt>
                <c:pt idx="21">
                  <c:v>Edgewell Hawaiian Tropic Sheer Touch Sunscreen Adults Cosmetics Liquido 30 - 49 60Ml</c:v>
                </c:pt>
                <c:pt idx="22">
                  <c:v>Edgewell Hawaiian Tropic Tanning Sunscreen Adults Cosmetics Spray Liquido 15 - 19 220Ml</c:v>
                </c:pt>
              </c:strCache>
            </c:strRef>
          </c:cat>
          <c:val>
            <c:numRef>
              <c:f>Sheet1!$B$2:$B$24</c:f>
              <c:numCache>
                <c:formatCode>General</c:formatCode>
                <c:ptCount val="23"/>
                <c:pt idx="0">
                  <c:v>310.0</c:v>
                </c:pt>
                <c:pt idx="1">
                  <c:v>305.0</c:v>
                </c:pt>
                <c:pt idx="2">
                  <c:v>349.0</c:v>
                </c:pt>
                <c:pt idx="3">
                  <c:v>367.5</c:v>
                </c:pt>
                <c:pt idx="4">
                  <c:v>305.0</c:v>
                </c:pt>
                <c:pt idx="5">
                  <c:v>249.0</c:v>
                </c:pt>
                <c:pt idx="6">
                  <c:v>305.0</c:v>
                </c:pt>
                <c:pt idx="7">
                  <c:v>310.0</c:v>
                </c:pt>
                <c:pt idx="8">
                  <c:v>242.0</c:v>
                </c:pt>
                <c:pt idx="9">
                  <c:v>240.0</c:v>
                </c:pt>
                <c:pt idx="10">
                  <c:v>179.0</c:v>
                </c:pt>
                <c:pt idx="11">
                  <c:v>179.0</c:v>
                </c:pt>
                <c:pt idx="12">
                  <c:v>179.0</c:v>
                </c:pt>
                <c:pt idx="13">
                  <c:v>350.0</c:v>
                </c:pt>
                <c:pt idx="14">
                  <c:v>205.0</c:v>
                </c:pt>
                <c:pt idx="15">
                  <c:v>350.0</c:v>
                </c:pt>
                <c:pt idx="16">
                  <c:v>350.0</c:v>
                </c:pt>
                <c:pt idx="17">
                  <c:v>125.0</c:v>
                </c:pt>
                <c:pt idx="18">
                  <c:v>385.0</c:v>
                </c:pt>
                <c:pt idx="19">
                  <c:v>299.0</c:v>
                </c:pt>
                <c:pt idx="20">
                  <c:v>205.0</c:v>
                </c:pt>
                <c:pt idx="21">
                  <c:v>105.0</c:v>
                </c:pt>
                <c:pt idx="2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7.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249.0</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2.0</a:t>
                    </a:r>
                  </a:p>
                </c:rich>
              </c:tx>
              <c:showLegendKey val="0"/>
              <c:showVal val="1"/>
              <c:showCatName val="0"/>
              <c:showSerName val="0"/>
              <c:showPercent val="0"/>
              <c:showBubbleSize val="0"/>
            </c:dLbl>
            <c:dLbl>
              <c:idx val="9"/>
              <c:tx>
                <c:rich>
                  <a:bodyPr/>
                  <a:lstStyle/>
                  <a:p>
                    <a:r>
                      <a:t>240.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79.0</a:t>
                    </a:r>
                  </a:p>
                </c:rich>
              </c:tx>
              <c:showLegendKey val="0"/>
              <c:showVal val="1"/>
              <c:showCatName val="0"/>
              <c:showSerName val="0"/>
              <c:showPercent val="0"/>
              <c:showBubbleSize val="0"/>
            </c:dLbl>
            <c:dLbl>
              <c:idx val="13"/>
              <c:tx>
                <c:rich>
                  <a:bodyPr/>
                  <a:lstStyle/>
                  <a:p>
                    <a:r>
                      <a:t>350.0</a:t>
                    </a:r>
                  </a:p>
                </c:rich>
              </c:tx>
              <c:showLegendKey val="0"/>
              <c:showVal val="1"/>
              <c:showCatName val="0"/>
              <c:showSerName val="0"/>
              <c:showPercent val="0"/>
              <c:showBubbleSize val="0"/>
            </c:dLbl>
            <c:dLbl>
              <c:idx val="14"/>
              <c:tx>
                <c:rich>
                  <a:bodyPr/>
                  <a:lstStyle/>
                  <a:p>
                    <a:r>
                      <a:t>205.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350.0</a:t>
                    </a:r>
                  </a:p>
                </c:rich>
              </c:tx>
              <c:showLegendKey val="0"/>
              <c:showVal val="1"/>
              <c:showCatName val="0"/>
              <c:showSerName val="0"/>
              <c:showPercent val="0"/>
              <c:showBubbleSize val="0"/>
            </c:dLbl>
            <c:dLbl>
              <c:idx val="17"/>
              <c:tx>
                <c:rich>
                  <a:bodyPr/>
                  <a:lstStyle/>
                  <a:p>
                    <a:r>
                      <a:t>125.0</a:t>
                    </a:r>
                  </a:p>
                </c:rich>
              </c:tx>
              <c:showLegendKey val="0"/>
              <c:showVal val="1"/>
              <c:showCatName val="0"/>
              <c:showSerName val="0"/>
              <c:showPercent val="0"/>
              <c:showBubbleSize val="0"/>
            </c:dLbl>
            <c:dLbl>
              <c:idx val="18"/>
              <c:tx>
                <c:rich>
                  <a:bodyPr/>
                  <a:lstStyle/>
                  <a:p>
                    <a:r>
                      <a:t>385.0</a:t>
                    </a:r>
                  </a:p>
                </c:rich>
              </c:tx>
              <c:showLegendKey val="0"/>
              <c:showVal val="1"/>
              <c:showCatName val="0"/>
              <c:showSerName val="0"/>
              <c:showPercent val="0"/>
              <c:showBubbleSize val="0"/>
            </c:dLbl>
            <c:dLbl>
              <c:idx val="19"/>
              <c:tx>
                <c:rich>
                  <a:bodyPr/>
                  <a:lstStyle/>
                  <a:p>
                    <a:r>
                      <a:t>299.0</a:t>
                    </a:r>
                  </a:p>
                </c:rich>
              </c:tx>
              <c:showLegendKey val="0"/>
              <c:showVal val="1"/>
              <c:showCatName val="0"/>
              <c:showSerName val="0"/>
              <c:showPercent val="0"/>
              <c:showBubbleSize val="0"/>
            </c:dLbl>
            <c:dLbl>
              <c:idx val="20"/>
              <c:tx>
                <c:rich>
                  <a:bodyPr/>
                  <a:lstStyle/>
                  <a:p>
                    <a:r>
                      <a:t>205.0</a:t>
                    </a:r>
                  </a:p>
                </c:rich>
              </c:tx>
              <c:showLegendKey val="0"/>
              <c:showVal val="1"/>
              <c:showCatName val="0"/>
              <c:showSerName val="0"/>
              <c:showPercent val="0"/>
              <c:showBubbleSize val="0"/>
            </c:dLbl>
            <c:dLbl>
              <c:idx val="21"/>
              <c:tx>
                <c:rich>
                  <a:bodyPr/>
                  <a:lstStyle/>
                  <a:p>
                    <a:r>
                      <a:t>105.0</a:t>
                    </a:r>
                  </a:p>
                </c:rich>
              </c:tx>
              <c:showLegendKey val="0"/>
              <c:showVal val="1"/>
              <c:showCatName val="0"/>
              <c:showSerName val="0"/>
              <c:showPercent val="0"/>
              <c:showBubbleSize val="0"/>
            </c:dLbl>
            <c:dLbl>
              <c:idx val="2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Dry Balance Sunscreen Adults Cosmetics Spray Crema 50+ 220Ml</c:v>
                </c:pt>
                <c:pt idx="6">
                  <c:v>Edgewell Banana Boat Kids Sport Sunscreen Kids Cosmetics Crema 50 180Ml</c:v>
                </c:pt>
                <c:pt idx="7">
                  <c:v>Edgewell Banana Boat Mineral Sunscreen Adults Cosmetics Locion 50 60Ml</c:v>
                </c:pt>
                <c:pt idx="8">
                  <c:v>Edgewell Banana Boat Mineral Sunscreen Kids Cosmetics Locion 50 180Ml</c:v>
                </c:pt>
                <c:pt idx="9">
                  <c:v>Edgewell Beauty Care Antioxidant Sunscreen Adults Cosmetics Liquido 15 - 19 100Ml</c:v>
                </c:pt>
                <c:pt idx="10">
                  <c:v>Edgewell Beauty Care Antioxidant Sunscreen Adults Cosmetics Liquido 50+ 50Ml</c:v>
                </c:pt>
                <c:pt idx="11">
                  <c:v>Edgewell Beauty Care Matte Sunscreen Adults Cosmetics Liquido 30 50Ml</c:v>
                </c:pt>
                <c:pt idx="12">
                  <c:v>Edgewell Beauty Care Sensitive Sunscreen Adults Cosmetics Liquido 50+ 50Ml</c:v>
                </c:pt>
                <c:pt idx="13">
                  <c:v>Edgewell Hawaiian Tropic Other Sunscreen Adults Cosmetics Crema 50+ 240Ml</c:v>
                </c:pt>
                <c:pt idx="14">
                  <c:v>Edgewell Hawaiian Tropic Ozono Sunscreen Adults Cosmetics Liquido 50+ 120Ml</c:v>
                </c:pt>
                <c:pt idx="15">
                  <c:v>Edgewell Hawaiian Tropic Ozono Sunscreen Adults Cosmetics Liquido 50+ 180Ml</c:v>
                </c:pt>
                <c:pt idx="16">
                  <c:v>Edgewell Hawaiian Tropic Ozono Sunscreen Adults Cosmetics Liquido 50+ 240Ml</c:v>
                </c:pt>
                <c:pt idx="17">
                  <c:v>Edgewell Hawaiian Tropic Ozono Sunscreen Adults Cosmetics Liquido 50+ 90Ml</c:v>
                </c:pt>
                <c:pt idx="18">
                  <c:v>Edgewell Hawaiian Tropic Ozono Sunscreen Adults Cosmetics Spray Liquido 50+ 180Ml</c:v>
                </c:pt>
                <c:pt idx="19">
                  <c:v>Edgewell Hawaiian Tropic Sheer Touch Sunscreen Adults Cosmetics Crema 30 - 49 240Ml</c:v>
                </c:pt>
                <c:pt idx="20">
                  <c:v>Edgewell Hawaiian Tropic Sheer Touch Sunscreen Adults Cosmetics Crema 50 120Ml</c:v>
                </c:pt>
                <c:pt idx="21">
                  <c:v>Edgewell Hawaiian Tropic Sheer Touch Sunscreen Adults Cosmetics Liquido 30 - 49 60Ml</c:v>
                </c:pt>
                <c:pt idx="22">
                  <c:v>Edgewell Hawaiian Tropic Tanning Sunscreen Adults Cosmetics Spray Liquido 15 - 19 220Ml</c:v>
                </c:pt>
              </c:strCache>
            </c:strRef>
          </c:cat>
          <c:val>
            <c:numRef>
              <c:f>Sheet1!$B$2:$B$24</c:f>
              <c:numCache>
                <c:formatCode>General</c:formatCode>
                <c:ptCount val="23"/>
                <c:pt idx="0">
                  <c:v>310.0</c:v>
                </c:pt>
                <c:pt idx="1">
                  <c:v>305.0</c:v>
                </c:pt>
                <c:pt idx="2">
                  <c:v>349.0</c:v>
                </c:pt>
                <c:pt idx="3">
                  <c:v>367.5</c:v>
                </c:pt>
                <c:pt idx="4">
                  <c:v>305.0</c:v>
                </c:pt>
                <c:pt idx="5">
                  <c:v>249.0</c:v>
                </c:pt>
                <c:pt idx="6">
                  <c:v>305.0</c:v>
                </c:pt>
                <c:pt idx="7">
                  <c:v>310.0</c:v>
                </c:pt>
                <c:pt idx="8">
                  <c:v>242.0</c:v>
                </c:pt>
                <c:pt idx="9">
                  <c:v>240.0</c:v>
                </c:pt>
                <c:pt idx="10">
                  <c:v>179.0</c:v>
                </c:pt>
                <c:pt idx="11">
                  <c:v>179.0</c:v>
                </c:pt>
                <c:pt idx="12">
                  <c:v>179.0</c:v>
                </c:pt>
                <c:pt idx="13">
                  <c:v>350.0</c:v>
                </c:pt>
                <c:pt idx="14">
                  <c:v>205.0</c:v>
                </c:pt>
                <c:pt idx="15">
                  <c:v>350.0</c:v>
                </c:pt>
                <c:pt idx="16">
                  <c:v>350.0</c:v>
                </c:pt>
                <c:pt idx="17">
                  <c:v>125.0</c:v>
                </c:pt>
                <c:pt idx="18">
                  <c:v>385.0</c:v>
                </c:pt>
                <c:pt idx="19">
                  <c:v>299.0</c:v>
                </c:pt>
                <c:pt idx="20">
                  <c:v>205.0</c:v>
                </c:pt>
                <c:pt idx="21">
                  <c:v>105.0</c:v>
                </c:pt>
                <c:pt idx="2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pt idx="5">
                  <c:v>Edgewell Hawaiian Tropic Island Sport Sunscreen Adults Sport Liquido 50 60Ml</c:v>
                </c:pt>
              </c:strCache>
            </c:strRef>
          </c:cat>
          <c:val>
            <c:numRef>
              <c:f>Sheet1!$B$2:$B$7</c:f>
              <c:numCache>
                <c:formatCode>General</c:formatCode>
                <c:ptCount val="6"/>
                <c:pt idx="0">
                  <c:v>305.0</c:v>
                </c:pt>
                <c:pt idx="1">
                  <c:v>335.0</c:v>
                </c:pt>
                <c:pt idx="2">
                  <c:v>385.0</c:v>
                </c:pt>
                <c:pt idx="3">
                  <c:v>249.0</c:v>
                </c:pt>
                <c:pt idx="4">
                  <c:v>21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7.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249.0</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42.0</a:t>
                    </a:r>
                  </a:p>
                </c:rich>
              </c:tx>
              <c:showLegendKey val="0"/>
              <c:showVal val="1"/>
              <c:showCatName val="0"/>
              <c:showSerName val="0"/>
              <c:showPercent val="0"/>
              <c:showBubbleSize val="0"/>
            </c:dLbl>
            <c:dLbl>
              <c:idx val="9"/>
              <c:tx>
                <c:rich>
                  <a:bodyPr/>
                  <a:lstStyle/>
                  <a:p>
                    <a:r>
                      <a:t>240.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179.0</a:t>
                    </a:r>
                  </a:p>
                </c:rich>
              </c:tx>
              <c:showLegendKey val="0"/>
              <c:showVal val="1"/>
              <c:showCatName val="0"/>
              <c:showSerName val="0"/>
              <c:showPercent val="0"/>
              <c:showBubbleSize val="0"/>
            </c:dLbl>
            <c:dLbl>
              <c:idx val="13"/>
              <c:tx>
                <c:rich>
                  <a:bodyPr/>
                  <a:lstStyle/>
                  <a:p>
                    <a:r>
                      <a:t>350.0</a:t>
                    </a:r>
                  </a:p>
                </c:rich>
              </c:tx>
              <c:showLegendKey val="0"/>
              <c:showVal val="1"/>
              <c:showCatName val="0"/>
              <c:showSerName val="0"/>
              <c:showPercent val="0"/>
              <c:showBubbleSize val="0"/>
            </c:dLbl>
            <c:dLbl>
              <c:idx val="14"/>
              <c:tx>
                <c:rich>
                  <a:bodyPr/>
                  <a:lstStyle/>
                  <a:p>
                    <a:r>
                      <a:t>205.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350.0</a:t>
                    </a:r>
                  </a:p>
                </c:rich>
              </c:tx>
              <c:showLegendKey val="0"/>
              <c:showVal val="1"/>
              <c:showCatName val="0"/>
              <c:showSerName val="0"/>
              <c:showPercent val="0"/>
              <c:showBubbleSize val="0"/>
            </c:dLbl>
            <c:dLbl>
              <c:idx val="17"/>
              <c:tx>
                <c:rich>
                  <a:bodyPr/>
                  <a:lstStyle/>
                  <a:p>
                    <a:r>
                      <a:t>125.0</a:t>
                    </a:r>
                  </a:p>
                </c:rich>
              </c:tx>
              <c:showLegendKey val="0"/>
              <c:showVal val="1"/>
              <c:showCatName val="0"/>
              <c:showSerName val="0"/>
              <c:showPercent val="0"/>
              <c:showBubbleSize val="0"/>
            </c:dLbl>
            <c:dLbl>
              <c:idx val="18"/>
              <c:tx>
                <c:rich>
                  <a:bodyPr/>
                  <a:lstStyle/>
                  <a:p>
                    <a:r>
                      <a:t>385.0</a:t>
                    </a:r>
                  </a:p>
                </c:rich>
              </c:tx>
              <c:showLegendKey val="0"/>
              <c:showVal val="1"/>
              <c:showCatName val="0"/>
              <c:showSerName val="0"/>
              <c:showPercent val="0"/>
              <c:showBubbleSize val="0"/>
            </c:dLbl>
            <c:dLbl>
              <c:idx val="19"/>
              <c:tx>
                <c:rich>
                  <a:bodyPr/>
                  <a:lstStyle/>
                  <a:p>
                    <a:r>
                      <a:t>299.0</a:t>
                    </a:r>
                  </a:p>
                </c:rich>
              </c:tx>
              <c:showLegendKey val="0"/>
              <c:showVal val="1"/>
              <c:showCatName val="0"/>
              <c:showSerName val="0"/>
              <c:showPercent val="0"/>
              <c:showBubbleSize val="0"/>
            </c:dLbl>
            <c:dLbl>
              <c:idx val="20"/>
              <c:tx>
                <c:rich>
                  <a:bodyPr/>
                  <a:lstStyle/>
                  <a:p>
                    <a:r>
                      <a:t>205.0</a:t>
                    </a:r>
                  </a:p>
                </c:rich>
              </c:tx>
              <c:showLegendKey val="0"/>
              <c:showVal val="1"/>
              <c:showCatName val="0"/>
              <c:showSerName val="0"/>
              <c:showPercent val="0"/>
              <c:showBubbleSize val="0"/>
            </c:dLbl>
            <c:dLbl>
              <c:idx val="21"/>
              <c:tx>
                <c:rich>
                  <a:bodyPr/>
                  <a:lstStyle/>
                  <a:p>
                    <a:r>
                      <a:t>105.0</a:t>
                    </a:r>
                  </a:p>
                </c:rich>
              </c:tx>
              <c:showLegendKey val="0"/>
              <c:showVal val="1"/>
              <c:showCatName val="0"/>
              <c:showSerName val="0"/>
              <c:showPercent val="0"/>
              <c:showBubbleSize val="0"/>
            </c:dLbl>
            <c:dLbl>
              <c:idx val="2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Dry Balance Sunscreen Adults Cosmetics Spray Crema 50+ 220Ml</c:v>
                </c:pt>
                <c:pt idx="6">
                  <c:v>Edgewell Banana Boat Kids Sport Sunscreen Kids Cosmetics Crema 50 180Ml</c:v>
                </c:pt>
                <c:pt idx="7">
                  <c:v>Edgewell Banana Boat Mineral Sunscreen Adults Cosmetics Locion 50 60Ml</c:v>
                </c:pt>
                <c:pt idx="8">
                  <c:v>Edgewell Banana Boat Mineral Sunscreen Kids Cosmetics Locion 50 180Ml</c:v>
                </c:pt>
                <c:pt idx="9">
                  <c:v>Edgewell Beauty Care Antioxidant Sunscreen Adults Cosmetics Liquido 15 - 19 100Ml</c:v>
                </c:pt>
                <c:pt idx="10">
                  <c:v>Edgewell Beauty Care Antioxidant Sunscreen Adults Cosmetics Liquido 50+ 50Ml</c:v>
                </c:pt>
                <c:pt idx="11">
                  <c:v>Edgewell Beauty Care Matte Sunscreen Adults Cosmetics Liquido 30 50Ml</c:v>
                </c:pt>
                <c:pt idx="12">
                  <c:v>Edgewell Beauty Care Sensitive Sunscreen Adults Cosmetics Liquido 50+ 50Ml</c:v>
                </c:pt>
                <c:pt idx="13">
                  <c:v>Edgewell Hawaiian Tropic Other Sunscreen Adults Cosmetics Crema 50+ 240Ml</c:v>
                </c:pt>
                <c:pt idx="14">
                  <c:v>Edgewell Hawaiian Tropic Ozono Sunscreen Adults Cosmetics Liquido 50+ 120Ml</c:v>
                </c:pt>
                <c:pt idx="15">
                  <c:v>Edgewell Hawaiian Tropic Ozono Sunscreen Adults Cosmetics Liquido 50+ 180Ml</c:v>
                </c:pt>
                <c:pt idx="16">
                  <c:v>Edgewell Hawaiian Tropic Ozono Sunscreen Adults Cosmetics Liquido 50+ 240Ml</c:v>
                </c:pt>
                <c:pt idx="17">
                  <c:v>Edgewell Hawaiian Tropic Ozono Sunscreen Adults Cosmetics Liquido 50+ 90Ml</c:v>
                </c:pt>
                <c:pt idx="18">
                  <c:v>Edgewell Hawaiian Tropic Ozono Sunscreen Adults Cosmetics Spray Liquido 50+ 180Ml</c:v>
                </c:pt>
                <c:pt idx="19">
                  <c:v>Edgewell Hawaiian Tropic Sheer Touch Sunscreen Adults Cosmetics Crema 30 - 49 240Ml</c:v>
                </c:pt>
                <c:pt idx="20">
                  <c:v>Edgewell Hawaiian Tropic Sheer Touch Sunscreen Adults Cosmetics Crema 50 120Ml</c:v>
                </c:pt>
                <c:pt idx="21">
                  <c:v>Edgewell Hawaiian Tropic Sheer Touch Sunscreen Adults Cosmetics Liquido 30 - 49 60Ml</c:v>
                </c:pt>
                <c:pt idx="22">
                  <c:v>Edgewell Hawaiian Tropic Tanning Sunscreen Adults Cosmetics Spray Liquido 15 - 19 220Ml</c:v>
                </c:pt>
              </c:strCache>
            </c:strRef>
          </c:cat>
          <c:val>
            <c:numRef>
              <c:f>Sheet1!$B$2:$B$24</c:f>
              <c:numCache>
                <c:formatCode>General</c:formatCode>
                <c:ptCount val="23"/>
                <c:pt idx="0">
                  <c:v>310.0</c:v>
                </c:pt>
                <c:pt idx="1">
                  <c:v>305.0</c:v>
                </c:pt>
                <c:pt idx="2">
                  <c:v>349.0</c:v>
                </c:pt>
                <c:pt idx="3">
                  <c:v>367.5</c:v>
                </c:pt>
                <c:pt idx="4">
                  <c:v>305.0</c:v>
                </c:pt>
                <c:pt idx="5">
                  <c:v>249.0</c:v>
                </c:pt>
                <c:pt idx="6">
                  <c:v>305.0</c:v>
                </c:pt>
                <c:pt idx="7">
                  <c:v>310.0</c:v>
                </c:pt>
                <c:pt idx="8">
                  <c:v>242.0</c:v>
                </c:pt>
                <c:pt idx="9">
                  <c:v>240.0</c:v>
                </c:pt>
                <c:pt idx="10">
                  <c:v>179.0</c:v>
                </c:pt>
                <c:pt idx="11">
                  <c:v>179.0</c:v>
                </c:pt>
                <c:pt idx="12">
                  <c:v>179.0</c:v>
                </c:pt>
                <c:pt idx="13">
                  <c:v>350.0</c:v>
                </c:pt>
                <c:pt idx="14">
                  <c:v>205.0</c:v>
                </c:pt>
                <c:pt idx="15">
                  <c:v>350.0</c:v>
                </c:pt>
                <c:pt idx="16">
                  <c:v>350.0</c:v>
                </c:pt>
                <c:pt idx="17">
                  <c:v>125.0</c:v>
                </c:pt>
                <c:pt idx="18">
                  <c:v>385.0</c:v>
                </c:pt>
                <c:pt idx="19">
                  <c:v>299.0</c:v>
                </c:pt>
                <c:pt idx="20">
                  <c:v>205.0</c:v>
                </c:pt>
                <c:pt idx="21">
                  <c:v>105.0</c:v>
                </c:pt>
                <c:pt idx="2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7.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2.0</a:t>
                    </a:r>
                  </a:p>
                </c:rich>
              </c:tx>
              <c:showLegendKey val="0"/>
              <c:showVal val="1"/>
              <c:showCatName val="0"/>
              <c:showSerName val="0"/>
              <c:showPercent val="0"/>
              <c:showBubbleSize val="0"/>
            </c:dLbl>
            <c:dLbl>
              <c:idx val="8"/>
              <c:tx>
                <c:rich>
                  <a:bodyPr/>
                  <a:lstStyle/>
                  <a:p>
                    <a:r>
                      <a:t>240.0</a:t>
                    </a:r>
                  </a:p>
                </c:rich>
              </c:tx>
              <c:showLegendKey val="0"/>
              <c:showVal val="1"/>
              <c:showCatName val="0"/>
              <c:showSerName val="0"/>
              <c:showPercent val="0"/>
              <c:showBubbleSize val="0"/>
            </c:dLbl>
            <c:dLbl>
              <c:idx val="9"/>
              <c:tx>
                <c:rich>
                  <a:bodyPr/>
                  <a:lstStyle/>
                  <a:p>
                    <a:r>
                      <a:t>179.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350.0</a:t>
                    </a:r>
                  </a:p>
                </c:rich>
              </c:tx>
              <c:showLegendKey val="0"/>
              <c:showVal val="1"/>
              <c:showCatName val="0"/>
              <c:showSerName val="0"/>
              <c:showPercent val="0"/>
              <c:showBubbleSize val="0"/>
            </c:dLbl>
            <c:dLbl>
              <c:idx val="13"/>
              <c:tx>
                <c:rich>
                  <a:bodyPr/>
                  <a:lstStyle/>
                  <a:p>
                    <a:r>
                      <a:t>205.0</a:t>
                    </a:r>
                  </a:p>
                </c:rich>
              </c:tx>
              <c:showLegendKey val="0"/>
              <c:showVal val="1"/>
              <c:showCatName val="0"/>
              <c:showSerName val="0"/>
              <c:showPercent val="0"/>
              <c:showBubbleSize val="0"/>
            </c:dLbl>
            <c:dLbl>
              <c:idx val="14"/>
              <c:tx>
                <c:rich>
                  <a:bodyPr/>
                  <a:lstStyle/>
                  <a:p>
                    <a:r>
                      <a:t>350.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125.0</a:t>
                    </a:r>
                  </a:p>
                </c:rich>
              </c:tx>
              <c:showLegendKey val="0"/>
              <c:showVal val="1"/>
              <c:showCatName val="0"/>
              <c:showSerName val="0"/>
              <c:showPercent val="0"/>
              <c:showBubbleSize val="0"/>
            </c:dLbl>
            <c:dLbl>
              <c:idx val="17"/>
              <c:tx>
                <c:rich>
                  <a:bodyPr/>
                  <a:lstStyle/>
                  <a:p>
                    <a:r>
                      <a:t>385.0</a:t>
                    </a:r>
                  </a:p>
                </c:rich>
              </c:tx>
              <c:showLegendKey val="0"/>
              <c:showVal val="1"/>
              <c:showCatName val="0"/>
              <c:showSerName val="0"/>
              <c:showPercent val="0"/>
              <c:showBubbleSize val="0"/>
            </c:dLbl>
            <c:dLbl>
              <c:idx val="18"/>
              <c:tx>
                <c:rich>
                  <a:bodyPr/>
                  <a:lstStyle/>
                  <a:p>
                    <a:r>
                      <a:t>299.0</a:t>
                    </a:r>
                  </a:p>
                </c:rich>
              </c:tx>
              <c:showLegendKey val="0"/>
              <c:showVal val="1"/>
              <c:showCatName val="0"/>
              <c:showSerName val="0"/>
              <c:showPercent val="0"/>
              <c:showBubbleSize val="0"/>
            </c:dLbl>
            <c:dLbl>
              <c:idx val="19"/>
              <c:tx>
                <c:rich>
                  <a:bodyPr/>
                  <a:lstStyle/>
                  <a:p>
                    <a:r>
                      <a:t>205.0</a:t>
                    </a:r>
                  </a:p>
                </c:rich>
              </c:tx>
              <c:showLegendKey val="0"/>
              <c:showVal val="1"/>
              <c:showCatName val="0"/>
              <c:showSerName val="0"/>
              <c:showPercent val="0"/>
              <c:showBubbleSize val="0"/>
            </c:dLbl>
            <c:dLbl>
              <c:idx val="20"/>
              <c:tx>
                <c:rich>
                  <a:bodyPr/>
                  <a:lstStyle/>
                  <a:p>
                    <a:r>
                      <a:t>105.0</a:t>
                    </a:r>
                  </a:p>
                </c:rich>
              </c:tx>
              <c:showLegendKey val="0"/>
              <c:showVal val="1"/>
              <c:showCatName val="0"/>
              <c:showSerName val="0"/>
              <c:showPercent val="0"/>
              <c:showBubbleSize val="0"/>
            </c:dLbl>
            <c:dLbl>
              <c:idx val="21"/>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Kids Sport Sunscreen Kids Cosmetics Crema 50 180Ml</c:v>
                </c:pt>
                <c:pt idx="6">
                  <c:v>Edgewell Banana Boat Mineral Sunscreen Adults Cosmetics Locion 50 60Ml</c:v>
                </c:pt>
                <c:pt idx="7">
                  <c:v>Edgewell Banana Boat Mineral Sunscreen Kids Cosmetics Locion 50 180Ml</c:v>
                </c:pt>
                <c:pt idx="8">
                  <c:v>Edgewell Beauty Care Antioxidant Sunscreen Adults Cosmetics Liquido 15 - 19 100Ml</c:v>
                </c:pt>
                <c:pt idx="9">
                  <c:v>Edgewell Beauty Care Antioxidant Sunscreen Adults Cosmetics Liquido 50+ 50Ml</c:v>
                </c:pt>
                <c:pt idx="10">
                  <c:v>Edgewell Beauty Care Matte Sunscreen Adults Cosmetics Liquido 30 50Ml</c:v>
                </c:pt>
                <c:pt idx="11">
                  <c:v>Edgewell Beauty Care Sensitive Sunscreen Adults Cosmetics Liquido 50+ 50Ml</c:v>
                </c:pt>
                <c:pt idx="12">
                  <c:v>Edgewell Hawaiian Tropic Other Sunscreen Adults Cosmetics Crema 50+ 240Ml</c:v>
                </c:pt>
                <c:pt idx="13">
                  <c:v>Edgewell Hawaiian Tropic Ozono Sunscreen Adults Cosmetics Liquido 50+ 120Ml</c:v>
                </c:pt>
                <c:pt idx="14">
                  <c:v>Edgewell Hawaiian Tropic Ozono Sunscreen Adults Cosmetics Liquido 50+ 180Ml</c:v>
                </c:pt>
                <c:pt idx="15">
                  <c:v>Edgewell Hawaiian Tropic Ozono Sunscreen Adults Cosmetics Liquido 50+ 240Ml</c:v>
                </c:pt>
                <c:pt idx="16">
                  <c:v>Edgewell Hawaiian Tropic Ozono Sunscreen Adults Cosmetics Liquido 50+ 90Ml</c:v>
                </c:pt>
                <c:pt idx="17">
                  <c:v>Edgewell Hawaiian Tropic Ozono Sunscreen Adults Cosmetics Spray Liquido 50+ 180Ml</c:v>
                </c:pt>
                <c:pt idx="18">
                  <c:v>Edgewell Hawaiian Tropic Sheer Touch Sunscreen Adults Cosmetics Crema 30 - 49 240Ml</c:v>
                </c:pt>
                <c:pt idx="19">
                  <c:v>Edgewell Hawaiian Tropic Sheer Touch Sunscreen Adults Cosmetics Crema 50 120Ml</c:v>
                </c:pt>
                <c:pt idx="20">
                  <c:v>Edgewell Hawaiian Tropic Sheer Touch Sunscreen Adults Cosmetics Liquido 30 - 49 60Ml</c:v>
                </c:pt>
                <c:pt idx="21">
                  <c:v>Edgewell Hawaiian Tropic Tanning Sunscreen Adults Cosmetics Spray Liquido 15 - 19 220Ml</c:v>
                </c:pt>
              </c:strCache>
            </c:strRef>
          </c:cat>
          <c:val>
            <c:numRef>
              <c:f>Sheet1!$B$2:$B$23</c:f>
              <c:numCache>
                <c:formatCode>General</c:formatCode>
                <c:ptCount val="22"/>
                <c:pt idx="0">
                  <c:v>310.0</c:v>
                </c:pt>
                <c:pt idx="1">
                  <c:v>305.0</c:v>
                </c:pt>
                <c:pt idx="2">
                  <c:v>349.0</c:v>
                </c:pt>
                <c:pt idx="3">
                  <c:v>367.5</c:v>
                </c:pt>
                <c:pt idx="4">
                  <c:v>305.0</c:v>
                </c:pt>
                <c:pt idx="5">
                  <c:v>305.0</c:v>
                </c:pt>
                <c:pt idx="6">
                  <c:v>310.0</c:v>
                </c:pt>
                <c:pt idx="7">
                  <c:v>242.0</c:v>
                </c:pt>
                <c:pt idx="8">
                  <c:v>240.0</c:v>
                </c:pt>
                <c:pt idx="9">
                  <c:v>179.0</c:v>
                </c:pt>
                <c:pt idx="10">
                  <c:v>179.0</c:v>
                </c:pt>
                <c:pt idx="11">
                  <c:v>179.0</c:v>
                </c:pt>
                <c:pt idx="12">
                  <c:v>350.0</c:v>
                </c:pt>
                <c:pt idx="13">
                  <c:v>205.0</c:v>
                </c:pt>
                <c:pt idx="14">
                  <c:v>350.0</c:v>
                </c:pt>
                <c:pt idx="15">
                  <c:v>350.0</c:v>
                </c:pt>
                <c:pt idx="16">
                  <c:v>125.0</c:v>
                </c:pt>
                <c:pt idx="17">
                  <c:v>385.0</c:v>
                </c:pt>
                <c:pt idx="18">
                  <c:v>299.0</c:v>
                </c:pt>
                <c:pt idx="19">
                  <c:v>205.0</c:v>
                </c:pt>
                <c:pt idx="20">
                  <c:v>105.0</c:v>
                </c:pt>
                <c:pt idx="21">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pt idx="5">
                  <c:v>Edgewell Hawaiian Tropic Island Sport Sunscreen Adults Sport Liquido 50 60Ml</c:v>
                </c:pt>
              </c:strCache>
            </c:strRef>
          </c:cat>
          <c:val>
            <c:numRef>
              <c:f>Sheet1!$B$2:$B$7</c:f>
              <c:numCache>
                <c:formatCode>General</c:formatCode>
                <c:ptCount val="6"/>
                <c:pt idx="0">
                  <c:v>305.0</c:v>
                </c:pt>
                <c:pt idx="1">
                  <c:v>335.0</c:v>
                </c:pt>
                <c:pt idx="2">
                  <c:v>385.0</c:v>
                </c:pt>
                <c:pt idx="3">
                  <c:v>249.0</c:v>
                </c:pt>
                <c:pt idx="4">
                  <c:v>21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85.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2.0</a:t>
                    </a:r>
                  </a:p>
                </c:rich>
              </c:tx>
              <c:showLegendKey val="0"/>
              <c:showVal val="1"/>
              <c:showCatName val="0"/>
              <c:showSerName val="0"/>
              <c:showPercent val="0"/>
              <c:showBubbleSize val="0"/>
            </c:dLbl>
            <c:dLbl>
              <c:idx val="8"/>
              <c:tx>
                <c:rich>
                  <a:bodyPr/>
                  <a:lstStyle/>
                  <a:p>
                    <a:r>
                      <a:t>240.0</a:t>
                    </a:r>
                  </a:p>
                </c:rich>
              </c:tx>
              <c:showLegendKey val="0"/>
              <c:showVal val="1"/>
              <c:showCatName val="0"/>
              <c:showSerName val="0"/>
              <c:showPercent val="0"/>
              <c:showBubbleSize val="0"/>
            </c:dLbl>
            <c:dLbl>
              <c:idx val="9"/>
              <c:tx>
                <c:rich>
                  <a:bodyPr/>
                  <a:lstStyle/>
                  <a:p>
                    <a:r>
                      <a:t>179.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350.0</a:t>
                    </a:r>
                  </a:p>
                </c:rich>
              </c:tx>
              <c:showLegendKey val="0"/>
              <c:showVal val="1"/>
              <c:showCatName val="0"/>
              <c:showSerName val="0"/>
              <c:showPercent val="0"/>
              <c:showBubbleSize val="0"/>
            </c:dLbl>
            <c:dLbl>
              <c:idx val="13"/>
              <c:tx>
                <c:rich>
                  <a:bodyPr/>
                  <a:lstStyle/>
                  <a:p>
                    <a:r>
                      <a:t>350.0</a:t>
                    </a:r>
                  </a:p>
                </c:rich>
              </c:tx>
              <c:showLegendKey val="0"/>
              <c:showVal val="1"/>
              <c:showCatName val="0"/>
              <c:showSerName val="0"/>
              <c:showPercent val="0"/>
              <c:showBubbleSize val="0"/>
            </c:dLbl>
            <c:dLbl>
              <c:idx val="14"/>
              <c:tx>
                <c:rich>
                  <a:bodyPr/>
                  <a:lstStyle/>
                  <a:p>
                    <a:r>
                      <a:t>350.0</a:t>
                    </a:r>
                  </a:p>
                </c:rich>
              </c:tx>
              <c:showLegendKey val="0"/>
              <c:showVal val="1"/>
              <c:showCatName val="0"/>
              <c:showSerName val="0"/>
              <c:showPercent val="0"/>
              <c:showBubbleSize val="0"/>
            </c:dLbl>
            <c:dLbl>
              <c:idx val="15"/>
              <c:tx>
                <c:rich>
                  <a:bodyPr/>
                  <a:lstStyle/>
                  <a:p>
                    <a:r>
                      <a:t>385.0</a:t>
                    </a:r>
                  </a:p>
                </c:rich>
              </c:tx>
              <c:showLegendKey val="0"/>
              <c:showVal val="1"/>
              <c:showCatName val="0"/>
              <c:showSerName val="0"/>
              <c:showPercent val="0"/>
              <c:showBubbleSize val="0"/>
            </c:dLbl>
            <c:dLbl>
              <c:idx val="16"/>
              <c:tx>
                <c:rich>
                  <a:bodyPr/>
                  <a:lstStyle/>
                  <a:p>
                    <a:r>
                      <a:t>205.0</a:t>
                    </a:r>
                  </a:p>
                </c:rich>
              </c:tx>
              <c:showLegendKey val="0"/>
              <c:showVal val="1"/>
              <c:showCatName val="0"/>
              <c:showSerName val="0"/>
              <c:showPercent val="0"/>
              <c:showBubbleSize val="0"/>
            </c:dLbl>
            <c:dLbl>
              <c:idx val="17"/>
              <c:tx>
                <c:rich>
                  <a:bodyPr/>
                  <a:lstStyle/>
                  <a:p>
                    <a:r>
                      <a:t>105.0</a:t>
                    </a:r>
                  </a:p>
                </c:rich>
              </c:tx>
              <c:showLegendKey val="0"/>
              <c:showVal val="1"/>
              <c:showCatName val="0"/>
              <c:showSerName val="0"/>
              <c:showPercent val="0"/>
              <c:showBubbleSize val="0"/>
            </c:dLbl>
            <c:dLbl>
              <c:idx val="18"/>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Kids Sport Sunscreen Kids Cosmetics Crema 50 180Ml</c:v>
                </c:pt>
                <c:pt idx="6">
                  <c:v>Edgewell Banana Boat Mineral Sunscreen Adults Cosmetics Locion 50 60Ml</c:v>
                </c:pt>
                <c:pt idx="7">
                  <c:v>Edgewell Banana Boat Mineral Sunscreen Kids Cosmetics Locion 50 180Ml</c:v>
                </c:pt>
                <c:pt idx="8">
                  <c:v>Edgewell Beauty Care Antioxidant Sunscreen Adults Cosmetics Liquido 15 - 19 100Ml</c:v>
                </c:pt>
                <c:pt idx="9">
                  <c:v>Edgewell Beauty Care Antioxidant Sunscreen Adults Cosmetics Liquido 50+ 50Ml</c:v>
                </c:pt>
                <c:pt idx="10">
                  <c:v>Edgewell Beauty Care Matte Sunscreen Adults Cosmetics Liquido 30 50Ml</c:v>
                </c:pt>
                <c:pt idx="11">
                  <c:v>Edgewell Beauty Care Sensitive Sunscreen Adults Cosmetics Liquido 50+ 50Ml</c:v>
                </c:pt>
                <c:pt idx="12">
                  <c:v>Edgewell Hawaiian Tropic Other Sunscreen Adults Cosmetics Crema 50+ 240Ml</c:v>
                </c:pt>
                <c:pt idx="13">
                  <c:v>Edgewell Hawaiian Tropic Ozono Sunscreen Adults Cosmetics Liquido 50+ 180Ml</c:v>
                </c:pt>
                <c:pt idx="14">
                  <c:v>Edgewell Hawaiian Tropic Ozono Sunscreen Adults Cosmetics Liquido 50+ 240Ml</c:v>
                </c:pt>
                <c:pt idx="15">
                  <c:v>Edgewell Hawaiian Tropic Ozono Sunscreen Adults Cosmetics Spray Liquido 50+ 180Ml</c:v>
                </c:pt>
                <c:pt idx="16">
                  <c:v>Edgewell Hawaiian Tropic Sheer Touch Sunscreen Adults Cosmetics Crema 50 120Ml</c:v>
                </c:pt>
                <c:pt idx="17">
                  <c:v>Edgewell Hawaiian Tropic Sheer Touch Sunscreen Adults Cosmetics Liquido 30 - 49 60Ml</c:v>
                </c:pt>
                <c:pt idx="18">
                  <c:v>Edgewell Hawaiian Tropic Tanning Sunscreen Adults Cosmetics Spray Liquido 15 - 19 220Ml</c:v>
                </c:pt>
              </c:strCache>
            </c:strRef>
          </c:cat>
          <c:val>
            <c:numRef>
              <c:f>Sheet1!$B$2:$B$20</c:f>
              <c:numCache>
                <c:formatCode>General</c:formatCode>
                <c:ptCount val="19"/>
                <c:pt idx="0">
                  <c:v>310.0</c:v>
                </c:pt>
                <c:pt idx="1">
                  <c:v>305.0</c:v>
                </c:pt>
                <c:pt idx="2">
                  <c:v>349.0</c:v>
                </c:pt>
                <c:pt idx="3">
                  <c:v>385.0</c:v>
                </c:pt>
                <c:pt idx="4">
                  <c:v>305.0</c:v>
                </c:pt>
                <c:pt idx="5">
                  <c:v>305.0</c:v>
                </c:pt>
                <c:pt idx="6">
                  <c:v>310.0</c:v>
                </c:pt>
                <c:pt idx="7">
                  <c:v>242.0</c:v>
                </c:pt>
                <c:pt idx="8">
                  <c:v>240.0</c:v>
                </c:pt>
                <c:pt idx="9">
                  <c:v>179.0</c:v>
                </c:pt>
                <c:pt idx="10">
                  <c:v>179.0</c:v>
                </c:pt>
                <c:pt idx="11">
                  <c:v>179.0</c:v>
                </c:pt>
                <c:pt idx="12">
                  <c:v>350.0</c:v>
                </c:pt>
                <c:pt idx="13">
                  <c:v>350.0</c:v>
                </c:pt>
                <c:pt idx="14">
                  <c:v>350.0</c:v>
                </c:pt>
                <c:pt idx="15">
                  <c:v>385.0</c:v>
                </c:pt>
                <c:pt idx="16">
                  <c:v>205.0</c:v>
                </c:pt>
                <c:pt idx="17">
                  <c:v>105.0</c:v>
                </c:pt>
                <c:pt idx="18">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dLbl>
              <c:idx val="3"/>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Sport Crema 50+ 236Ml</c:v>
                </c:pt>
                <c:pt idx="1">
                  <c:v>Edgewell Banana Boat Dry Balance Sunscreen Adults Sport Spray Liquido 50 220Ml</c:v>
                </c:pt>
                <c:pt idx="2">
                  <c:v>Edgewell Banana Boat Mineral Sunscreen Adults Sport Locion 50 180Ml</c:v>
                </c:pt>
                <c:pt idx="3">
                  <c:v>Edgewell Hawaiian Tropic Island Sport Sunscreen Adults Sport Liquido 50 60Ml</c:v>
                </c:pt>
              </c:strCache>
            </c:strRef>
          </c:cat>
          <c:val>
            <c:numRef>
              <c:f>Sheet1!$B$2:$B$5</c:f>
              <c:numCache>
                <c:formatCode>General</c:formatCode>
                <c:ptCount val="4"/>
                <c:pt idx="0">
                  <c:v>305.0</c:v>
                </c:pt>
                <c:pt idx="1">
                  <c:v>385.0</c:v>
                </c:pt>
                <c:pt idx="2">
                  <c:v>249.0</c:v>
                </c:pt>
                <c:pt idx="3">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85.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2.0</a:t>
                    </a:r>
                  </a:p>
                </c:rich>
              </c:tx>
              <c:showLegendKey val="0"/>
              <c:showVal val="1"/>
              <c:showCatName val="0"/>
              <c:showSerName val="0"/>
              <c:showPercent val="0"/>
              <c:showBubbleSize val="0"/>
            </c:dLbl>
            <c:dLbl>
              <c:idx val="8"/>
              <c:tx>
                <c:rich>
                  <a:bodyPr/>
                  <a:lstStyle/>
                  <a:p>
                    <a:r>
                      <a:t>240.0</a:t>
                    </a:r>
                  </a:p>
                </c:rich>
              </c:tx>
              <c:showLegendKey val="0"/>
              <c:showVal val="1"/>
              <c:showCatName val="0"/>
              <c:showSerName val="0"/>
              <c:showPercent val="0"/>
              <c:showBubbleSize val="0"/>
            </c:dLbl>
            <c:dLbl>
              <c:idx val="9"/>
              <c:tx>
                <c:rich>
                  <a:bodyPr/>
                  <a:lstStyle/>
                  <a:p>
                    <a:r>
                      <a:t>179.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179.0</a:t>
                    </a:r>
                  </a:p>
                </c:rich>
              </c:tx>
              <c:showLegendKey val="0"/>
              <c:showVal val="1"/>
              <c:showCatName val="0"/>
              <c:showSerName val="0"/>
              <c:showPercent val="0"/>
              <c:showBubbleSize val="0"/>
            </c:dLbl>
            <c:dLbl>
              <c:idx val="12"/>
              <c:tx>
                <c:rich>
                  <a:bodyPr/>
                  <a:lstStyle/>
                  <a:p>
                    <a:r>
                      <a:t>350.0</a:t>
                    </a:r>
                  </a:p>
                </c:rich>
              </c:tx>
              <c:showLegendKey val="0"/>
              <c:showVal val="1"/>
              <c:showCatName val="0"/>
              <c:showSerName val="0"/>
              <c:showPercent val="0"/>
              <c:showBubbleSize val="0"/>
            </c:dLbl>
            <c:dLbl>
              <c:idx val="13"/>
              <c:tx>
                <c:rich>
                  <a:bodyPr/>
                  <a:lstStyle/>
                  <a:p>
                    <a:r>
                      <a:t>205.0</a:t>
                    </a:r>
                  </a:p>
                </c:rich>
              </c:tx>
              <c:showLegendKey val="0"/>
              <c:showVal val="1"/>
              <c:showCatName val="0"/>
              <c:showSerName val="0"/>
              <c:showPercent val="0"/>
              <c:showBubbleSize val="0"/>
            </c:dLbl>
            <c:dLbl>
              <c:idx val="14"/>
              <c:tx>
                <c:rich>
                  <a:bodyPr/>
                  <a:lstStyle/>
                  <a:p>
                    <a:r>
                      <a:t>350.0</a:t>
                    </a:r>
                  </a:p>
                </c:rich>
              </c:tx>
              <c:showLegendKey val="0"/>
              <c:showVal val="1"/>
              <c:showCatName val="0"/>
              <c:showSerName val="0"/>
              <c:showPercent val="0"/>
              <c:showBubbleSize val="0"/>
            </c:dLbl>
            <c:dLbl>
              <c:idx val="15"/>
              <c:tx>
                <c:rich>
                  <a:bodyPr/>
                  <a:lstStyle/>
                  <a:p>
                    <a:r>
                      <a:t>350.0</a:t>
                    </a:r>
                  </a:p>
                </c:rich>
              </c:tx>
              <c:showLegendKey val="0"/>
              <c:showVal val="1"/>
              <c:showCatName val="0"/>
              <c:showSerName val="0"/>
              <c:showPercent val="0"/>
              <c:showBubbleSize val="0"/>
            </c:dLbl>
            <c:dLbl>
              <c:idx val="16"/>
              <c:tx>
                <c:rich>
                  <a:bodyPr/>
                  <a:lstStyle/>
                  <a:p>
                    <a:r>
                      <a:t>125.0</a:t>
                    </a:r>
                  </a:p>
                </c:rich>
              </c:tx>
              <c:showLegendKey val="0"/>
              <c:showVal val="1"/>
              <c:showCatName val="0"/>
              <c:showSerName val="0"/>
              <c:showPercent val="0"/>
              <c:showBubbleSize val="0"/>
            </c:dLbl>
            <c:dLbl>
              <c:idx val="17"/>
              <c:tx>
                <c:rich>
                  <a:bodyPr/>
                  <a:lstStyle/>
                  <a:p>
                    <a:r>
                      <a:t>385.0</a:t>
                    </a:r>
                  </a:p>
                </c:rich>
              </c:tx>
              <c:showLegendKey val="0"/>
              <c:showVal val="1"/>
              <c:showCatName val="0"/>
              <c:showSerName val="0"/>
              <c:showPercent val="0"/>
              <c:showBubbleSize val="0"/>
            </c:dLbl>
            <c:dLbl>
              <c:idx val="18"/>
              <c:tx>
                <c:rich>
                  <a:bodyPr/>
                  <a:lstStyle/>
                  <a:p>
                    <a:r>
                      <a:t>299.0</a:t>
                    </a:r>
                  </a:p>
                </c:rich>
              </c:tx>
              <c:showLegendKey val="0"/>
              <c:showVal val="1"/>
              <c:showCatName val="0"/>
              <c:showSerName val="0"/>
              <c:showPercent val="0"/>
              <c:showBubbleSize val="0"/>
            </c:dLbl>
            <c:dLbl>
              <c:idx val="19"/>
              <c:tx>
                <c:rich>
                  <a:bodyPr/>
                  <a:lstStyle/>
                  <a:p>
                    <a:r>
                      <a:t>205.0</a:t>
                    </a:r>
                  </a:p>
                </c:rich>
              </c:tx>
              <c:showLegendKey val="0"/>
              <c:showVal val="1"/>
              <c:showCatName val="0"/>
              <c:showSerName val="0"/>
              <c:showPercent val="0"/>
              <c:showBubbleSize val="0"/>
            </c:dLbl>
            <c:dLbl>
              <c:idx val="20"/>
              <c:tx>
                <c:rich>
                  <a:bodyPr/>
                  <a:lstStyle/>
                  <a:p>
                    <a:r>
                      <a:t>105.0</a:t>
                    </a:r>
                  </a:p>
                </c:rich>
              </c:tx>
              <c:showLegendKey val="0"/>
              <c:showVal val="1"/>
              <c:showCatName val="0"/>
              <c:showSerName val="0"/>
              <c:showPercent val="0"/>
              <c:showBubbleSize val="0"/>
            </c:dLbl>
            <c:dLbl>
              <c:idx val="21"/>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Kids Sport Sunscreen Kids Cosmetics Crema 50 180Ml</c:v>
                </c:pt>
                <c:pt idx="6">
                  <c:v>Edgewell Banana Boat Mineral Sunscreen Adults Cosmetics Locion 50 60Ml</c:v>
                </c:pt>
                <c:pt idx="7">
                  <c:v>Edgewell Banana Boat Mineral Sunscreen Kids Cosmetics Locion 50 180Ml</c:v>
                </c:pt>
                <c:pt idx="8">
                  <c:v>Edgewell Beauty Care Antioxidant Sunscreen Adults Cosmetics Liquido 15 - 19 100Ml</c:v>
                </c:pt>
                <c:pt idx="9">
                  <c:v>Edgewell Beauty Care Antioxidant Sunscreen Adults Cosmetics Liquido 50+ 50Ml</c:v>
                </c:pt>
                <c:pt idx="10">
                  <c:v>Edgewell Beauty Care Matte Sunscreen Adults Cosmetics Liquido 30 50Ml</c:v>
                </c:pt>
                <c:pt idx="11">
                  <c:v>Edgewell Beauty Care Sensitive Sunscreen Adults Cosmetics Liquido 50+ 50Ml</c:v>
                </c:pt>
                <c:pt idx="12">
                  <c:v>Edgewell Hawaiian Tropic Other Sunscreen Adults Cosmetics Crema 50+ 240Ml</c:v>
                </c:pt>
                <c:pt idx="13">
                  <c:v>Edgewell Hawaiian Tropic Ozono Sunscreen Adults Cosmetics Liquido 50+ 120Ml</c:v>
                </c:pt>
                <c:pt idx="14">
                  <c:v>Edgewell Hawaiian Tropic Ozono Sunscreen Adults Cosmetics Liquido 50+ 180Ml</c:v>
                </c:pt>
                <c:pt idx="15">
                  <c:v>Edgewell Hawaiian Tropic Ozono Sunscreen Adults Cosmetics Liquido 50+ 240Ml</c:v>
                </c:pt>
                <c:pt idx="16">
                  <c:v>Edgewell Hawaiian Tropic Ozono Sunscreen Adults Cosmetics Liquido 50+ 90Ml</c:v>
                </c:pt>
                <c:pt idx="17">
                  <c:v>Edgewell Hawaiian Tropic Ozono Sunscreen Adults Cosmetics Spray Liquido 50+ 180Ml</c:v>
                </c:pt>
                <c:pt idx="18">
                  <c:v>Edgewell Hawaiian Tropic Sheer Touch Sunscreen Adults Cosmetics Crema 30 - 49 240Ml</c:v>
                </c:pt>
                <c:pt idx="19">
                  <c:v>Edgewell Hawaiian Tropic Sheer Touch Sunscreen Adults Cosmetics Crema 50 120Ml</c:v>
                </c:pt>
                <c:pt idx="20">
                  <c:v>Edgewell Hawaiian Tropic Sheer Touch Sunscreen Adults Cosmetics Liquido 30 - 49 60Ml</c:v>
                </c:pt>
                <c:pt idx="21">
                  <c:v>Edgewell Hawaiian Tropic Tanning Sunscreen Adults Cosmetics Spray Liquido 15 - 19 220Ml</c:v>
                </c:pt>
              </c:strCache>
            </c:strRef>
          </c:cat>
          <c:val>
            <c:numRef>
              <c:f>Sheet1!$B$2:$B$23</c:f>
              <c:numCache>
                <c:formatCode>General</c:formatCode>
                <c:ptCount val="22"/>
                <c:pt idx="0">
                  <c:v>310.0</c:v>
                </c:pt>
                <c:pt idx="1">
                  <c:v>305.0</c:v>
                </c:pt>
                <c:pt idx="2">
                  <c:v>349.0</c:v>
                </c:pt>
                <c:pt idx="3">
                  <c:v>385.0</c:v>
                </c:pt>
                <c:pt idx="4">
                  <c:v>305.0</c:v>
                </c:pt>
                <c:pt idx="5">
                  <c:v>305.0</c:v>
                </c:pt>
                <c:pt idx="6">
                  <c:v>310.0</c:v>
                </c:pt>
                <c:pt idx="7">
                  <c:v>242.0</c:v>
                </c:pt>
                <c:pt idx="8">
                  <c:v>240.0</c:v>
                </c:pt>
                <c:pt idx="9">
                  <c:v>179.0</c:v>
                </c:pt>
                <c:pt idx="10">
                  <c:v>179.0</c:v>
                </c:pt>
                <c:pt idx="11">
                  <c:v>179.0</c:v>
                </c:pt>
                <c:pt idx="12">
                  <c:v>350.0</c:v>
                </c:pt>
                <c:pt idx="13">
                  <c:v>205.0</c:v>
                </c:pt>
                <c:pt idx="14">
                  <c:v>350.0</c:v>
                </c:pt>
                <c:pt idx="15">
                  <c:v>350.0</c:v>
                </c:pt>
                <c:pt idx="16">
                  <c:v>125.0</c:v>
                </c:pt>
                <c:pt idx="17">
                  <c:v>385.0</c:v>
                </c:pt>
                <c:pt idx="18">
                  <c:v>299.0</c:v>
                </c:pt>
                <c:pt idx="19">
                  <c:v>205.0</c:v>
                </c:pt>
                <c:pt idx="20">
                  <c:v>105.0</c:v>
                </c:pt>
                <c:pt idx="21">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Hawaiian Tropic Island Sport Sunscreen Adults Sport Liquido 50 60Ml</c:v>
                </c:pt>
              </c:strCache>
            </c:strRef>
          </c:cat>
          <c:val>
            <c:numRef>
              <c:f>Sheet1!$B$2:$B$6</c:f>
              <c:numCache>
                <c:formatCode>General</c:formatCode>
                <c:ptCount val="5"/>
                <c:pt idx="0">
                  <c:v>305.0</c:v>
                </c:pt>
                <c:pt idx="1">
                  <c:v>335.0</c:v>
                </c:pt>
                <c:pt idx="2">
                  <c:v>385.0</c:v>
                </c:pt>
                <c:pt idx="3">
                  <c:v>249.0</c:v>
                </c:pt>
                <c:pt idx="4">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pt idx="5">
                  <c:v>Edgewell Hawaiian Tropic Island Sport Sunscreen Adults Sport Liquido 50 60Ml</c:v>
                </c:pt>
              </c:strCache>
            </c:strRef>
          </c:cat>
          <c:val>
            <c:numRef>
              <c:f>Sheet1!$B$2:$B$7</c:f>
              <c:numCache>
                <c:formatCode>General</c:formatCode>
                <c:ptCount val="6"/>
                <c:pt idx="0">
                  <c:v>305.0</c:v>
                </c:pt>
                <c:pt idx="1">
                  <c:v>335.0</c:v>
                </c:pt>
                <c:pt idx="2">
                  <c:v>385.0</c:v>
                </c:pt>
                <c:pt idx="3">
                  <c:v>249.0</c:v>
                </c:pt>
                <c:pt idx="4">
                  <c:v>21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8.42</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249.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Cosmetics Spray Crema 50+ 220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Ultra Sunscreen Adults Sport Roll-On 60+ 75Ml</c:v>
                </c:pt>
              </c:strCache>
            </c:strRef>
          </c:cat>
          <c:val>
            <c:numRef>
              <c:f>Sheet1!$B$2:$B$15</c:f>
              <c:numCache>
                <c:formatCode>General</c:formatCode>
                <c:ptCount val="14"/>
                <c:pt idx="0">
                  <c:v>310.0</c:v>
                </c:pt>
                <c:pt idx="1">
                  <c:v>305.0</c:v>
                </c:pt>
                <c:pt idx="2">
                  <c:v>349.0</c:v>
                </c:pt>
                <c:pt idx="3">
                  <c:v>305.0</c:v>
                </c:pt>
                <c:pt idx="4">
                  <c:v>368.42</c:v>
                </c:pt>
                <c:pt idx="5">
                  <c:v>305.0</c:v>
                </c:pt>
                <c:pt idx="6">
                  <c:v>249.0</c:v>
                </c:pt>
                <c:pt idx="7">
                  <c:v>335.0</c:v>
                </c:pt>
                <c:pt idx="8">
                  <c:v>385.0</c:v>
                </c:pt>
                <c:pt idx="9">
                  <c:v>305.0</c:v>
                </c:pt>
                <c:pt idx="10">
                  <c:v>310.0</c:v>
                </c:pt>
                <c:pt idx="11">
                  <c:v>249.0</c:v>
                </c:pt>
                <c:pt idx="12">
                  <c:v>242.0</c:v>
                </c:pt>
                <c:pt idx="13">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242.0</a:t>
                    </a:r>
                  </a:p>
                </c:rich>
              </c:tx>
              <c:showLegendKey val="0"/>
              <c:showVal val="1"/>
              <c:showCatName val="0"/>
              <c:showSerName val="0"/>
              <c:showPercent val="0"/>
              <c:showBubbleSize val="0"/>
            </c:dLbl>
            <c:dLbl>
              <c:idx val="8"/>
              <c:tx>
                <c:rich>
                  <a:bodyPr/>
                  <a:lstStyle/>
                  <a:p>
                    <a:r>
                      <a:t>179.0</a:t>
                    </a:r>
                  </a:p>
                </c:rich>
              </c:tx>
              <c:showLegendKey val="0"/>
              <c:showVal val="1"/>
              <c:showCatName val="0"/>
              <c:showSerName val="0"/>
              <c:showPercent val="0"/>
              <c:showBubbleSize val="0"/>
            </c:dLbl>
            <c:dLbl>
              <c:idx val="9"/>
              <c:tx>
                <c:rich>
                  <a:bodyPr/>
                  <a:lstStyle/>
                  <a:p>
                    <a:r>
                      <a:t>179.0</a:t>
                    </a:r>
                  </a:p>
                </c:rich>
              </c:tx>
              <c:showLegendKey val="0"/>
              <c:showVal val="1"/>
              <c:showCatName val="0"/>
              <c:showSerName val="0"/>
              <c:showPercent val="0"/>
              <c:showBubbleSize val="0"/>
            </c:dLbl>
            <c:dLbl>
              <c:idx val="10"/>
              <c:tx>
                <c:rich>
                  <a:bodyPr/>
                  <a:lstStyle/>
                  <a:p>
                    <a:r>
                      <a:t>179.0</a:t>
                    </a:r>
                  </a:p>
                </c:rich>
              </c:tx>
              <c:showLegendKey val="0"/>
              <c:showVal val="1"/>
              <c:showCatName val="0"/>
              <c:showSerName val="0"/>
              <c:showPercent val="0"/>
              <c:showBubbleSize val="0"/>
            </c:dLbl>
            <c:dLbl>
              <c:idx val="11"/>
              <c:tx>
                <c:rich>
                  <a:bodyPr/>
                  <a:lstStyle/>
                  <a:p>
                    <a:r>
                      <a:t>350.0</a:t>
                    </a:r>
                  </a:p>
                </c:rich>
              </c:tx>
              <c:showLegendKey val="0"/>
              <c:showVal val="1"/>
              <c:showCatName val="0"/>
              <c:showSerName val="0"/>
              <c:showPercent val="0"/>
              <c:showBubbleSize val="0"/>
            </c:dLbl>
            <c:dLbl>
              <c:idx val="12"/>
              <c:tx>
                <c:rich>
                  <a:bodyPr/>
                  <a:lstStyle/>
                  <a:p>
                    <a:r>
                      <a:t>205.0</a:t>
                    </a:r>
                  </a:p>
                </c:rich>
              </c:tx>
              <c:showLegendKey val="0"/>
              <c:showVal val="1"/>
              <c:showCatName val="0"/>
              <c:showSerName val="0"/>
              <c:showPercent val="0"/>
              <c:showBubbleSize val="0"/>
            </c:dLbl>
            <c:dLbl>
              <c:idx val="13"/>
              <c:tx>
                <c:rich>
                  <a:bodyPr/>
                  <a:lstStyle/>
                  <a:p>
                    <a:r>
                      <a:t>350.0</a:t>
                    </a:r>
                  </a:p>
                </c:rich>
              </c:tx>
              <c:showLegendKey val="0"/>
              <c:showVal val="1"/>
              <c:showCatName val="0"/>
              <c:showSerName val="0"/>
              <c:showPercent val="0"/>
              <c:showBubbleSize val="0"/>
            </c:dLbl>
            <c:dLbl>
              <c:idx val="14"/>
              <c:tx>
                <c:rich>
                  <a:bodyPr/>
                  <a:lstStyle/>
                  <a:p>
                    <a:r>
                      <a:t>350.0</a:t>
                    </a:r>
                  </a:p>
                </c:rich>
              </c:tx>
              <c:showLegendKey val="0"/>
              <c:showVal val="1"/>
              <c:showCatName val="0"/>
              <c:showSerName val="0"/>
              <c:showPercent val="0"/>
              <c:showBubbleSize val="0"/>
            </c:dLbl>
            <c:dLbl>
              <c:idx val="15"/>
              <c:tx>
                <c:rich>
                  <a:bodyPr/>
                  <a:lstStyle/>
                  <a:p>
                    <a:r>
                      <a:t>125.0</a:t>
                    </a:r>
                  </a:p>
                </c:rich>
              </c:tx>
              <c:showLegendKey val="0"/>
              <c:showVal val="1"/>
              <c:showCatName val="0"/>
              <c:showSerName val="0"/>
              <c:showPercent val="0"/>
              <c:showBubbleSize val="0"/>
            </c:dLbl>
            <c:dLbl>
              <c:idx val="16"/>
              <c:tx>
                <c:rich>
                  <a:bodyPr/>
                  <a:lstStyle/>
                  <a:p>
                    <a:r>
                      <a:t>385.0</a:t>
                    </a:r>
                  </a:p>
                </c:rich>
              </c:tx>
              <c:showLegendKey val="0"/>
              <c:showVal val="1"/>
              <c:showCatName val="0"/>
              <c:showSerName val="0"/>
              <c:showPercent val="0"/>
              <c:showBubbleSize val="0"/>
            </c:dLbl>
            <c:dLbl>
              <c:idx val="17"/>
              <c:tx>
                <c:rich>
                  <a:bodyPr/>
                  <a:lstStyle/>
                  <a:p>
                    <a:r>
                      <a:t>299.0</a:t>
                    </a:r>
                  </a:p>
                </c:rich>
              </c:tx>
              <c:showLegendKey val="0"/>
              <c:showVal val="1"/>
              <c:showCatName val="0"/>
              <c:showSerName val="0"/>
              <c:showPercent val="0"/>
              <c:showBubbleSize val="0"/>
            </c:dLbl>
            <c:dLbl>
              <c:idx val="18"/>
              <c:tx>
                <c:rich>
                  <a:bodyPr/>
                  <a:lstStyle/>
                  <a:p>
                    <a:r>
                      <a:t>205.0</a:t>
                    </a:r>
                  </a:p>
                </c:rich>
              </c:tx>
              <c:showLegendKey val="0"/>
              <c:showVal val="1"/>
              <c:showCatName val="0"/>
              <c:showSerName val="0"/>
              <c:showPercent val="0"/>
              <c:showBubbleSize val="0"/>
            </c:dLbl>
            <c:dLbl>
              <c:idx val="19"/>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Kids Sport Sunscreen Kids Cosmetics Crema 50 180Ml</c:v>
                </c:pt>
                <c:pt idx="6">
                  <c:v>Edgewell Banana Boat Mineral Sunscreen Adults Cosmetics Locion 50 60Ml</c:v>
                </c:pt>
                <c:pt idx="7">
                  <c:v>Edgewell Banana Boat Mineral Sunscreen Kids Cosmetics Locion 50 180Ml</c:v>
                </c:pt>
                <c:pt idx="8">
                  <c:v>Edgewell Beauty Care Antioxidant Sunscreen Adults Cosmetics Liquido 50+ 50Ml</c:v>
                </c:pt>
                <c:pt idx="9">
                  <c:v>Edgewell Beauty Care Matte Sunscreen Adults Cosmetics Liquido 30 50Ml</c:v>
                </c:pt>
                <c:pt idx="10">
                  <c:v>Edgewell Beauty Care Sensitive Sunscreen Adults Cosmetics Liquido 50+ 50Ml</c:v>
                </c:pt>
                <c:pt idx="11">
                  <c:v>Edgewell Hawaiian Tropic Other Sunscreen Adults Cosmetics Crema 50+ 240Ml</c:v>
                </c:pt>
                <c:pt idx="12">
                  <c:v>Edgewell Hawaiian Tropic Ozono Sunscreen Adults Cosmetics Liquido 50+ 120Ml</c:v>
                </c:pt>
                <c:pt idx="13">
                  <c:v>Edgewell Hawaiian Tropic Ozono Sunscreen Adults Cosmetics Liquido 50+ 180Ml</c:v>
                </c:pt>
                <c:pt idx="14">
                  <c:v>Edgewell Hawaiian Tropic Ozono Sunscreen Adults Cosmetics Liquido 50+ 240Ml</c:v>
                </c:pt>
                <c:pt idx="15">
                  <c:v>Edgewell Hawaiian Tropic Ozono Sunscreen Adults Cosmetics Liquido 50+ 90Ml</c:v>
                </c:pt>
                <c:pt idx="16">
                  <c:v>Edgewell Hawaiian Tropic Ozono Sunscreen Adults Cosmetics Spray Liquido 50+ 180Ml</c:v>
                </c:pt>
                <c:pt idx="17">
                  <c:v>Edgewell Hawaiian Tropic Sheer Touch Sunscreen Adults Cosmetics Crema 30 - 49 240Ml</c:v>
                </c:pt>
                <c:pt idx="18">
                  <c:v>Edgewell Hawaiian Tropic Sheer Touch Sunscreen Adults Cosmetics Crema 50 120Ml</c:v>
                </c:pt>
                <c:pt idx="19">
                  <c:v>Edgewell Hawaiian Tropic Sheer Touch Sunscreen Adults Cosmetics Liquido 30 - 49 60Ml</c:v>
                </c:pt>
              </c:strCache>
            </c:strRef>
          </c:cat>
          <c:val>
            <c:numRef>
              <c:f>Sheet1!$B$2:$B$21</c:f>
              <c:numCache>
                <c:formatCode>General</c:formatCode>
                <c:ptCount val="20"/>
                <c:pt idx="0">
                  <c:v>310.0</c:v>
                </c:pt>
                <c:pt idx="1">
                  <c:v>305.0</c:v>
                </c:pt>
                <c:pt idx="2">
                  <c:v>349.0</c:v>
                </c:pt>
                <c:pt idx="3">
                  <c:v>350.0</c:v>
                </c:pt>
                <c:pt idx="4">
                  <c:v>305.0</c:v>
                </c:pt>
                <c:pt idx="5">
                  <c:v>305.0</c:v>
                </c:pt>
                <c:pt idx="6">
                  <c:v>310.0</c:v>
                </c:pt>
                <c:pt idx="7">
                  <c:v>242.0</c:v>
                </c:pt>
                <c:pt idx="8">
                  <c:v>179.0</c:v>
                </c:pt>
                <c:pt idx="9">
                  <c:v>179.0</c:v>
                </c:pt>
                <c:pt idx="10">
                  <c:v>179.0</c:v>
                </c:pt>
                <c:pt idx="11">
                  <c:v>350.0</c:v>
                </c:pt>
                <c:pt idx="12">
                  <c:v>205.0</c:v>
                </c:pt>
                <c:pt idx="13">
                  <c:v>350.0</c:v>
                </c:pt>
                <c:pt idx="14">
                  <c:v>350.0</c:v>
                </c:pt>
                <c:pt idx="15">
                  <c:v>125.0</c:v>
                </c:pt>
                <c:pt idx="16">
                  <c:v>385.0</c:v>
                </c:pt>
                <c:pt idx="17">
                  <c:v>299.0</c:v>
                </c:pt>
                <c:pt idx="18">
                  <c:v>205.0</c:v>
                </c:pt>
                <c:pt idx="19">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Hawaiian Tropic Island Sport Sunscreen Adults Sport Liquido 50 60Ml</c:v>
                </c:pt>
              </c:strCache>
            </c:strRef>
          </c:cat>
          <c:val>
            <c:numRef>
              <c:f>Sheet1!$B$2:$B$6</c:f>
              <c:numCache>
                <c:formatCode>General</c:formatCode>
                <c:ptCount val="5"/>
                <c:pt idx="0">
                  <c:v>305.0</c:v>
                </c:pt>
                <c:pt idx="1">
                  <c:v>335.0</c:v>
                </c:pt>
                <c:pt idx="2">
                  <c:v>385.0</c:v>
                </c:pt>
                <c:pt idx="3">
                  <c:v>249.0</c:v>
                </c:pt>
                <c:pt idx="4">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215.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Banana Boat Mineral Sunscreen Adults Sport Locion 50 180Ml</c:v>
                </c:pt>
                <c:pt idx="4">
                  <c:v>Edgewell Banana Boat Ultra Sunscreen Adults Sport Roll-On 60+ 75Ml</c:v>
                </c:pt>
                <c:pt idx="5">
                  <c:v>Edgewell Hawaiian Tropic Island Sport Sunscreen Adults Sport Liquido 50 60Ml</c:v>
                </c:pt>
              </c:strCache>
            </c:strRef>
          </c:cat>
          <c:val>
            <c:numRef>
              <c:f>Sheet1!$B$2:$B$7</c:f>
              <c:numCache>
                <c:formatCode>General</c:formatCode>
                <c:ptCount val="6"/>
                <c:pt idx="0">
                  <c:v>305.0</c:v>
                </c:pt>
                <c:pt idx="1">
                  <c:v>335.0</c:v>
                </c:pt>
                <c:pt idx="2">
                  <c:v>385.0</c:v>
                </c:pt>
                <c:pt idx="3">
                  <c:v>249.0</c:v>
                </c:pt>
                <c:pt idx="4">
                  <c:v>215.0</c:v>
                </c:pt>
                <c:pt idx="5">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7.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10.0</a:t>
                    </a:r>
                  </a:p>
                </c:rich>
              </c:tx>
              <c:showLegendKey val="0"/>
              <c:showVal val="1"/>
              <c:showCatName val="0"/>
              <c:showSerName val="0"/>
              <c:showPercent val="0"/>
              <c:showBubbleSize val="0"/>
            </c:dLbl>
            <c:dLbl>
              <c:idx val="7"/>
              <c:tx>
                <c:rich>
                  <a:bodyPr/>
                  <a:lstStyle/>
                  <a:p>
                    <a:r>
                      <a:t>179.0</a:t>
                    </a:r>
                  </a:p>
                </c:rich>
              </c:tx>
              <c:showLegendKey val="0"/>
              <c:showVal val="1"/>
              <c:showCatName val="0"/>
              <c:showSerName val="0"/>
              <c:showPercent val="0"/>
              <c:showBubbleSize val="0"/>
            </c:dLbl>
            <c:dLbl>
              <c:idx val="8"/>
              <c:tx>
                <c:rich>
                  <a:bodyPr/>
                  <a:lstStyle/>
                  <a:p>
                    <a:r>
                      <a:t>179.0</a:t>
                    </a:r>
                  </a:p>
                </c:rich>
              </c:tx>
              <c:showLegendKey val="0"/>
              <c:showVal val="1"/>
              <c:showCatName val="0"/>
              <c:showSerName val="0"/>
              <c:showPercent val="0"/>
              <c:showBubbleSize val="0"/>
            </c:dLbl>
            <c:dLbl>
              <c:idx val="9"/>
              <c:tx>
                <c:rich>
                  <a:bodyPr/>
                  <a:lstStyle/>
                  <a:p>
                    <a:r>
                      <a:t>350.0</a:t>
                    </a:r>
                  </a:p>
                </c:rich>
              </c:tx>
              <c:showLegendKey val="0"/>
              <c:showVal val="1"/>
              <c:showCatName val="0"/>
              <c:showSerName val="0"/>
              <c:showPercent val="0"/>
              <c:showBubbleSize val="0"/>
            </c:dLbl>
            <c:dLbl>
              <c:idx val="10"/>
              <c:tx>
                <c:rich>
                  <a:bodyPr/>
                  <a:lstStyle/>
                  <a:p>
                    <a:r>
                      <a:t>205.0</a:t>
                    </a:r>
                  </a:p>
                </c:rich>
              </c:tx>
              <c:showLegendKey val="0"/>
              <c:showVal val="1"/>
              <c:showCatName val="0"/>
              <c:showSerName val="0"/>
              <c:showPercent val="0"/>
              <c:showBubbleSize val="0"/>
            </c:dLbl>
            <c:dLbl>
              <c:idx val="11"/>
              <c:tx>
                <c:rich>
                  <a:bodyPr/>
                  <a:lstStyle/>
                  <a:p>
                    <a:r>
                      <a:t>350.0</a:t>
                    </a:r>
                  </a:p>
                </c:rich>
              </c:tx>
              <c:showLegendKey val="0"/>
              <c:showVal val="1"/>
              <c:showCatName val="0"/>
              <c:showSerName val="0"/>
              <c:showPercent val="0"/>
              <c:showBubbleSize val="0"/>
            </c:dLbl>
            <c:dLbl>
              <c:idx val="12"/>
              <c:tx>
                <c:rich>
                  <a:bodyPr/>
                  <a:lstStyle/>
                  <a:p>
                    <a:r>
                      <a:t>125.0</a:t>
                    </a:r>
                  </a:p>
                </c:rich>
              </c:tx>
              <c:showLegendKey val="0"/>
              <c:showVal val="1"/>
              <c:showCatName val="0"/>
              <c:showSerName val="0"/>
              <c:showPercent val="0"/>
              <c:showBubbleSize val="0"/>
            </c:dLbl>
            <c:dLbl>
              <c:idx val="13"/>
              <c:tx>
                <c:rich>
                  <a:bodyPr/>
                  <a:lstStyle/>
                  <a:p>
                    <a:r>
                      <a:t>385.0</a:t>
                    </a:r>
                  </a:p>
                </c:rich>
              </c:tx>
              <c:showLegendKey val="0"/>
              <c:showVal val="1"/>
              <c:showCatName val="0"/>
              <c:showSerName val="0"/>
              <c:showPercent val="0"/>
              <c:showBubbleSize val="0"/>
            </c:dLbl>
            <c:dLbl>
              <c:idx val="14"/>
              <c:tx>
                <c:rich>
                  <a:bodyPr/>
                  <a:lstStyle/>
                  <a:p>
                    <a:r>
                      <a:t>299.0</a:t>
                    </a:r>
                  </a:p>
                </c:rich>
              </c:tx>
              <c:showLegendKey val="0"/>
              <c:showVal val="1"/>
              <c:showCatName val="0"/>
              <c:showSerName val="0"/>
              <c:showPercent val="0"/>
              <c:showBubbleSize val="0"/>
            </c:dLbl>
            <c:dLbl>
              <c:idx val="15"/>
              <c:tx>
                <c:rich>
                  <a:bodyPr/>
                  <a:lstStyle/>
                  <a:p>
                    <a:r>
                      <a:t>205.0</a:t>
                    </a:r>
                  </a:p>
                </c:rich>
              </c:tx>
              <c:showLegendKey val="0"/>
              <c:showVal val="1"/>
              <c:showCatName val="0"/>
              <c:showSerName val="0"/>
              <c:showPercent val="0"/>
              <c:showBubbleSize val="0"/>
            </c:dLbl>
            <c:dLbl>
              <c:idx val="16"/>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Kids Sport Sunscreen Kids Cosmetics Crema 50 180Ml</c:v>
                </c:pt>
                <c:pt idx="6">
                  <c:v>Edgewell Banana Boat Mineral Sunscreen Adults Cosmetics Locion 50 60Ml</c:v>
                </c:pt>
                <c:pt idx="7">
                  <c:v>Edgewell Beauty Care Antioxidant Sunscreen Adults Cosmetics Liquido 50+ 50Ml</c:v>
                </c:pt>
                <c:pt idx="8">
                  <c:v>Edgewell Beauty Care Sensitive Sunscreen Adults Cosmetics Liquido 50+ 50Ml</c:v>
                </c:pt>
                <c:pt idx="9">
                  <c:v>Edgewell Hawaiian Tropic Other Sunscreen Adults Cosmetics Crema 50+ 240Ml</c:v>
                </c:pt>
                <c:pt idx="10">
                  <c:v>Edgewell Hawaiian Tropic Ozono Sunscreen Adults Cosmetics Liquido 50+ 120Ml</c:v>
                </c:pt>
                <c:pt idx="11">
                  <c:v>Edgewell Hawaiian Tropic Ozono Sunscreen Adults Cosmetics Liquido 50+ 240Ml</c:v>
                </c:pt>
                <c:pt idx="12">
                  <c:v>Edgewell Hawaiian Tropic Ozono Sunscreen Adults Cosmetics Liquido 50+ 90Ml</c:v>
                </c:pt>
                <c:pt idx="13">
                  <c:v>Edgewell Hawaiian Tropic Ozono Sunscreen Adults Cosmetics Spray Liquido 50+ 180Ml</c:v>
                </c:pt>
                <c:pt idx="14">
                  <c:v>Edgewell Hawaiian Tropic Sheer Touch Sunscreen Adults Cosmetics Crema 30 - 49 240Ml</c:v>
                </c:pt>
                <c:pt idx="15">
                  <c:v>Edgewell Hawaiian Tropic Sheer Touch Sunscreen Adults Cosmetics Crema 50 120Ml</c:v>
                </c:pt>
                <c:pt idx="16">
                  <c:v>Edgewell Hawaiian Tropic Sheer Touch Sunscreen Adults Cosmetics Liquido 30 - 49 60Ml</c:v>
                </c:pt>
              </c:strCache>
            </c:strRef>
          </c:cat>
          <c:val>
            <c:numRef>
              <c:f>Sheet1!$B$2:$B$18</c:f>
              <c:numCache>
                <c:formatCode>General</c:formatCode>
                <c:ptCount val="17"/>
                <c:pt idx="0">
                  <c:v>310.0</c:v>
                </c:pt>
                <c:pt idx="1">
                  <c:v>305.0</c:v>
                </c:pt>
                <c:pt idx="2">
                  <c:v>349.0</c:v>
                </c:pt>
                <c:pt idx="3">
                  <c:v>367.5</c:v>
                </c:pt>
                <c:pt idx="4">
                  <c:v>305.0</c:v>
                </c:pt>
                <c:pt idx="5">
                  <c:v>305.0</c:v>
                </c:pt>
                <c:pt idx="6">
                  <c:v>310.0</c:v>
                </c:pt>
                <c:pt idx="7">
                  <c:v>179.0</c:v>
                </c:pt>
                <c:pt idx="8">
                  <c:v>179.0</c:v>
                </c:pt>
                <c:pt idx="9">
                  <c:v>350.0</c:v>
                </c:pt>
                <c:pt idx="10">
                  <c:v>205.0</c:v>
                </c:pt>
                <c:pt idx="11">
                  <c:v>350.0</c:v>
                </c:pt>
                <c:pt idx="12">
                  <c:v>125.0</c:v>
                </c:pt>
                <c:pt idx="13">
                  <c:v>385.0</c:v>
                </c:pt>
                <c:pt idx="14">
                  <c:v>299.0</c:v>
                </c:pt>
                <c:pt idx="15">
                  <c:v>205.0</c:v>
                </c:pt>
                <c:pt idx="16">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Sport Crema 50+ 236Ml</c:v>
                </c:pt>
                <c:pt idx="1">
                  <c:v>Edgewell Banana Boat Dry Balance Sunscreen Adults Sport Crema 50+ 180Ml</c:v>
                </c:pt>
                <c:pt idx="2">
                  <c:v>Edgewell Banana Boat Dry Balance Sunscreen Adults Sport Spray Liquido 50 220Ml</c:v>
                </c:pt>
                <c:pt idx="3">
                  <c:v>Edgewell Hawaiian Tropic Island Sport Sunscreen Adults Sport Liquido 50 60Ml</c:v>
                </c:pt>
              </c:strCache>
            </c:strRef>
          </c:cat>
          <c:val>
            <c:numRef>
              <c:f>Sheet1!$B$2:$B$5</c:f>
              <c:numCache>
                <c:formatCode>General</c:formatCode>
                <c:ptCount val="4"/>
                <c:pt idx="0">
                  <c:v>305.0</c:v>
                </c:pt>
                <c:pt idx="1">
                  <c:v>335.0</c:v>
                </c:pt>
                <c:pt idx="2">
                  <c:v>385.0</c:v>
                </c:pt>
                <c:pt idx="3">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125.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dvanced Protection Sunscreen Adults Cosmetics Liquido 50+ 240Ml</c:v>
                </c:pt>
                <c:pt idx="1">
                  <c:v>Edgewell Banana Boat Aqua Protect Sunscreen Adults Cosmetics Crema 50+ 236Ml</c:v>
                </c:pt>
                <c:pt idx="2">
                  <c:v>Edgewell Banana Boat Banded Pack Banded Pack 2X Sunscreen Multi 50+ 236Ml</c:v>
                </c:pt>
                <c:pt idx="3">
                  <c:v>Edgewell Beauty Care Sensitive Sunscreen Adults Cosmetics Liquido 50+ 50Ml</c:v>
                </c:pt>
                <c:pt idx="4">
                  <c:v>Edgewell Hawaiian Tropic Other Sunscreen Adults Cosmetics Crema 50+ 240Ml</c:v>
                </c:pt>
                <c:pt idx="5">
                  <c:v>Edgewell Hawaiian Tropic Ozono Sunscreen Adults Cosmetics Liquido 50+ 240Ml</c:v>
                </c:pt>
                <c:pt idx="6">
                  <c:v>Edgewell Hawaiian Tropic Ozono Sunscreen Adults Cosmetics Liquido 50+ 90Ml</c:v>
                </c:pt>
                <c:pt idx="7">
                  <c:v>Edgewell Hawaiian Tropic Sheer Touch Sunscreen Adults Cosmetics Crema 50 120Ml</c:v>
                </c:pt>
              </c:strCache>
            </c:strRef>
          </c:cat>
          <c:val>
            <c:numRef>
              <c:f>Sheet1!$B$2:$B$9</c:f>
              <c:numCache>
                <c:formatCode>General</c:formatCode>
                <c:ptCount val="8"/>
                <c:pt idx="0">
                  <c:v>310.0</c:v>
                </c:pt>
                <c:pt idx="1">
                  <c:v>305.0</c:v>
                </c:pt>
                <c:pt idx="2">
                  <c:v>305.0</c:v>
                </c:pt>
                <c:pt idx="3">
                  <c:v>179.0</c:v>
                </c:pt>
                <c:pt idx="4">
                  <c:v>350.0</c:v>
                </c:pt>
                <c:pt idx="5">
                  <c:v>350.0</c:v>
                </c:pt>
                <c:pt idx="6">
                  <c:v>125.0</c:v>
                </c:pt>
                <c:pt idx="7">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3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qua Protect Sunscreen Adults Sport Crema 50+ 236Ml</c:v>
                </c:pt>
                <c:pt idx="1">
                  <c:v>Edgewell Banana Boat Dry Balance Sunscreen Adults Sport Crema 50+ 180Ml</c:v>
                </c:pt>
              </c:strCache>
            </c:strRef>
          </c:cat>
          <c:val>
            <c:numRef>
              <c:f>Sheet1!$B$2:$B$3</c:f>
              <c:numCache>
                <c:formatCode>General</c:formatCode>
                <c:ptCount val="2"/>
                <c:pt idx="0">
                  <c:v>305.0</c:v>
                </c:pt>
                <c:pt idx="1">
                  <c:v>33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67.5</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242.0</a:t>
                    </a:r>
                  </a:p>
                </c:rich>
              </c:tx>
              <c:showLegendKey val="0"/>
              <c:showVal val="1"/>
              <c:showCatName val="0"/>
              <c:showSerName val="0"/>
              <c:showPercent val="0"/>
              <c:showBubbleSize val="0"/>
            </c:dLbl>
            <c:dLbl>
              <c:idx val="7"/>
              <c:tx>
                <c:rich>
                  <a:bodyPr/>
                  <a:lstStyle/>
                  <a:p>
                    <a:r>
                      <a:t>179.0</a:t>
                    </a:r>
                  </a:p>
                </c:rich>
              </c:tx>
              <c:showLegendKey val="0"/>
              <c:showVal val="1"/>
              <c:showCatName val="0"/>
              <c:showSerName val="0"/>
              <c:showPercent val="0"/>
              <c:showBubbleSize val="0"/>
            </c:dLbl>
            <c:dLbl>
              <c:idx val="8"/>
              <c:tx>
                <c:rich>
                  <a:bodyPr/>
                  <a:lstStyle/>
                  <a:p>
                    <a:r>
                      <a:t>179.0</a:t>
                    </a:r>
                  </a:p>
                </c:rich>
              </c:tx>
              <c:showLegendKey val="0"/>
              <c:showVal val="1"/>
              <c:showCatName val="0"/>
              <c:showSerName val="0"/>
              <c:showPercent val="0"/>
              <c:showBubbleSize val="0"/>
            </c:dLbl>
            <c:dLbl>
              <c:idx val="9"/>
              <c:tx>
                <c:rich>
                  <a:bodyPr/>
                  <a:lstStyle/>
                  <a:p>
                    <a:r>
                      <a:t>179.0</a:t>
                    </a:r>
                  </a:p>
                </c:rich>
              </c:tx>
              <c:showLegendKey val="0"/>
              <c:showVal val="1"/>
              <c:showCatName val="0"/>
              <c:showSerName val="0"/>
              <c:showPercent val="0"/>
              <c:showBubbleSize val="0"/>
            </c:dLbl>
            <c:dLbl>
              <c:idx val="10"/>
              <c:tx>
                <c:rich>
                  <a:bodyPr/>
                  <a:lstStyle/>
                  <a:p>
                    <a:r>
                      <a:t>350.0</a:t>
                    </a:r>
                  </a:p>
                </c:rich>
              </c:tx>
              <c:showLegendKey val="0"/>
              <c:showVal val="1"/>
              <c:showCatName val="0"/>
              <c:showSerName val="0"/>
              <c:showPercent val="0"/>
              <c:showBubbleSize val="0"/>
            </c:dLbl>
            <c:dLbl>
              <c:idx val="11"/>
              <c:tx>
                <c:rich>
                  <a:bodyPr/>
                  <a:lstStyle/>
                  <a:p>
                    <a:r>
                      <a:t>205.0</a:t>
                    </a:r>
                  </a:p>
                </c:rich>
              </c:tx>
              <c:showLegendKey val="0"/>
              <c:showVal val="1"/>
              <c:showCatName val="0"/>
              <c:showSerName val="0"/>
              <c:showPercent val="0"/>
              <c:showBubbleSize val="0"/>
            </c:dLbl>
            <c:dLbl>
              <c:idx val="12"/>
              <c:tx>
                <c:rich>
                  <a:bodyPr/>
                  <a:lstStyle/>
                  <a:p>
                    <a:r>
                      <a:t>350.0</a:t>
                    </a:r>
                  </a:p>
                </c:rich>
              </c:tx>
              <c:showLegendKey val="0"/>
              <c:showVal val="1"/>
              <c:showCatName val="0"/>
              <c:showSerName val="0"/>
              <c:showPercent val="0"/>
              <c:showBubbleSize val="0"/>
            </c:dLbl>
            <c:dLbl>
              <c:idx val="13"/>
              <c:tx>
                <c:rich>
                  <a:bodyPr/>
                  <a:lstStyle/>
                  <a:p>
                    <a:r>
                      <a:t>125.0</a:t>
                    </a:r>
                  </a:p>
                </c:rich>
              </c:tx>
              <c:showLegendKey val="0"/>
              <c:showVal val="1"/>
              <c:showCatName val="0"/>
              <c:showSerName val="0"/>
              <c:showPercent val="0"/>
              <c:showBubbleSize val="0"/>
            </c:dLbl>
            <c:dLbl>
              <c:idx val="14"/>
              <c:tx>
                <c:rich>
                  <a:bodyPr/>
                  <a:lstStyle/>
                  <a:p>
                    <a:r>
                      <a:t>385.0</a:t>
                    </a:r>
                  </a:p>
                </c:rich>
              </c:tx>
              <c:showLegendKey val="0"/>
              <c:showVal val="1"/>
              <c:showCatName val="0"/>
              <c:showSerName val="0"/>
              <c:showPercent val="0"/>
              <c:showBubbleSize val="0"/>
            </c:dLbl>
            <c:dLbl>
              <c:idx val="15"/>
              <c:tx>
                <c:rich>
                  <a:bodyPr/>
                  <a:lstStyle/>
                  <a:p>
                    <a:r>
                      <a:t>299.0</a:t>
                    </a:r>
                  </a:p>
                </c:rich>
              </c:tx>
              <c:showLegendKey val="0"/>
              <c:showVal val="1"/>
              <c:showCatName val="0"/>
              <c:showSerName val="0"/>
              <c:showPercent val="0"/>
              <c:showBubbleSize val="0"/>
            </c:dLbl>
            <c:dLbl>
              <c:idx val="16"/>
              <c:tx>
                <c:rich>
                  <a:bodyPr/>
                  <a:lstStyle/>
                  <a:p>
                    <a:r>
                      <a:t>205.0</a:t>
                    </a:r>
                  </a:p>
                </c:rich>
              </c:tx>
              <c:showLegendKey val="0"/>
              <c:showVal val="1"/>
              <c:showCatName val="0"/>
              <c:showSerName val="0"/>
              <c:showPercent val="0"/>
              <c:showBubbleSize val="0"/>
            </c:dLbl>
            <c:dLbl>
              <c:idx val="17"/>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Banded Pack Banded Pack 2X Sunscreen Multi 50+ 170Ml</c:v>
                </c:pt>
                <c:pt idx="4">
                  <c:v>Edgewell Banana Boat Banded Pack Banded Pack 2X Sunscreen Multi 50+ 236Ml</c:v>
                </c:pt>
                <c:pt idx="5">
                  <c:v>Edgewell Banana Boat Kids Sport Sunscreen Kids Cosmetics Crema 50 180Ml</c:v>
                </c:pt>
                <c:pt idx="6">
                  <c:v>Edgewell Banana Boat Mineral Sunscreen Kids Cosmetics Locion 50 180Ml</c:v>
                </c:pt>
                <c:pt idx="7">
                  <c:v>Edgewell Beauty Care Antioxidant Sunscreen Adults Cosmetics Liquido 50+ 50Ml</c:v>
                </c:pt>
                <c:pt idx="8">
                  <c:v>Edgewell Beauty Care Matte Sunscreen Adults Cosmetics Liquido 30 50Ml</c:v>
                </c:pt>
                <c:pt idx="9">
                  <c:v>Edgewell Beauty Care Sensitive Sunscreen Adults Cosmetics Liquido 50+ 50Ml</c:v>
                </c:pt>
                <c:pt idx="10">
                  <c:v>Edgewell Hawaiian Tropic Other Sunscreen Adults Cosmetics Crema 50+ 240Ml</c:v>
                </c:pt>
                <c:pt idx="11">
                  <c:v>Edgewell Hawaiian Tropic Ozono Sunscreen Adults Cosmetics Liquido 50+ 120Ml</c:v>
                </c:pt>
                <c:pt idx="12">
                  <c:v>Edgewell Hawaiian Tropic Ozono Sunscreen Adults Cosmetics Liquido 50+ 240Ml</c:v>
                </c:pt>
                <c:pt idx="13">
                  <c:v>Edgewell Hawaiian Tropic Ozono Sunscreen Adults Cosmetics Liquido 50+ 90Ml</c:v>
                </c:pt>
                <c:pt idx="14">
                  <c:v>Edgewell Hawaiian Tropic Ozono Sunscreen Adults Cosmetics Spray Liquido 50+ 180Ml</c:v>
                </c:pt>
                <c:pt idx="15">
                  <c:v>Edgewell Hawaiian Tropic Sheer Touch Sunscreen Adults Cosmetics Crema 30 - 49 240Ml</c:v>
                </c:pt>
                <c:pt idx="16">
                  <c:v>Edgewell Hawaiian Tropic Sheer Touch Sunscreen Adults Cosmetics Crema 50 120Ml</c:v>
                </c:pt>
                <c:pt idx="17">
                  <c:v>Edgewell Hawaiian Tropic Sheer Touch Sunscreen Adults Cosmetics Liquido 30 - 49 60Ml</c:v>
                </c:pt>
              </c:strCache>
            </c:strRef>
          </c:cat>
          <c:val>
            <c:numRef>
              <c:f>Sheet1!$B$2:$B$19</c:f>
              <c:numCache>
                <c:formatCode>General</c:formatCode>
                <c:ptCount val="18"/>
                <c:pt idx="0">
                  <c:v>310.0</c:v>
                </c:pt>
                <c:pt idx="1">
                  <c:v>305.0</c:v>
                </c:pt>
                <c:pt idx="2">
                  <c:v>349.0</c:v>
                </c:pt>
                <c:pt idx="3">
                  <c:v>367.5</c:v>
                </c:pt>
                <c:pt idx="4">
                  <c:v>305.0</c:v>
                </c:pt>
                <c:pt idx="5">
                  <c:v>305.0</c:v>
                </c:pt>
                <c:pt idx="6">
                  <c:v>242.0</c:v>
                </c:pt>
                <c:pt idx="7">
                  <c:v>179.0</c:v>
                </c:pt>
                <c:pt idx="8">
                  <c:v>179.0</c:v>
                </c:pt>
                <c:pt idx="9">
                  <c:v>179.0</c:v>
                </c:pt>
                <c:pt idx="10">
                  <c:v>350.0</c:v>
                </c:pt>
                <c:pt idx="11">
                  <c:v>205.0</c:v>
                </c:pt>
                <c:pt idx="12">
                  <c:v>350.0</c:v>
                </c:pt>
                <c:pt idx="13">
                  <c:v>125.0</c:v>
                </c:pt>
                <c:pt idx="14">
                  <c:v>385.0</c:v>
                </c:pt>
                <c:pt idx="15">
                  <c:v>299.0</c:v>
                </c:pt>
                <c:pt idx="16">
                  <c:v>205.0</c:v>
                </c:pt>
                <c:pt idx="17">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99.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819.0</a:t>
                    </a:r>
                  </a:p>
                </c:rich>
              </c:tx>
              <c:showLegendKey val="0"/>
              <c:showVal val="1"/>
              <c:showCatName val="0"/>
              <c:showSerName val="0"/>
              <c:showPercent val="0"/>
              <c:showBubbleSize val="0"/>
            </c:dLbl>
            <c:dLbl>
              <c:idx val="9"/>
              <c:tx>
                <c:rich>
                  <a:bodyPr/>
                  <a:lstStyle/>
                  <a:p>
                    <a:r>
                      <a:t>651.98</a:t>
                    </a:r>
                  </a:p>
                </c:rich>
              </c:tx>
              <c:showLegendKey val="0"/>
              <c:showVal val="1"/>
              <c:showCatName val="0"/>
              <c:showSerName val="0"/>
              <c:showPercent val="0"/>
              <c:showBubbleSize val="0"/>
            </c:dLbl>
            <c:dLbl>
              <c:idx val="10"/>
              <c:tx>
                <c:rich>
                  <a:bodyPr/>
                  <a:lstStyle/>
                  <a:p>
                    <a:r>
                      <a:t>92.0</a:t>
                    </a:r>
                  </a:p>
                </c:rich>
              </c:tx>
              <c:showLegendKey val="0"/>
              <c:showVal val="1"/>
              <c:showCatName val="0"/>
              <c:showSerName val="0"/>
              <c:showPercent val="0"/>
              <c:showBubbleSize val="0"/>
            </c:dLbl>
            <c:dLbl>
              <c:idx val="11"/>
              <c:tx>
                <c:rich>
                  <a:bodyPr/>
                  <a:lstStyle/>
                  <a:p>
                    <a:r>
                      <a:t>254.33</a:t>
                    </a:r>
                  </a:p>
                </c:rich>
              </c:tx>
              <c:showLegendKey val="0"/>
              <c:showVal val="1"/>
              <c:showCatName val="0"/>
              <c:showSerName val="0"/>
              <c:showPercent val="0"/>
              <c:showBubbleSize val="0"/>
            </c:dLbl>
            <c:dLbl>
              <c:idx val="12"/>
              <c:tx>
                <c:rich>
                  <a:bodyPr/>
                  <a:lstStyle/>
                  <a:p>
                    <a:r>
                      <a:t>319.0</a:t>
                    </a:r>
                  </a:p>
                </c:rich>
              </c:tx>
              <c:showLegendKey val="0"/>
              <c:showVal val="1"/>
              <c:showCatName val="0"/>
              <c:showSerName val="0"/>
              <c:showPercent val="0"/>
              <c:showBubbleSize val="0"/>
            </c:dLbl>
            <c:dLbl>
              <c:idx val="13"/>
              <c:tx>
                <c:rich>
                  <a:bodyPr/>
                  <a:lstStyle/>
                  <a:p>
                    <a:r>
                      <a:t>220.0</a:t>
                    </a:r>
                  </a:p>
                </c:rich>
              </c:tx>
              <c:showLegendKey val="0"/>
              <c:showVal val="1"/>
              <c:showCatName val="0"/>
              <c:showSerName val="0"/>
              <c:showPercent val="0"/>
              <c:showBubbleSize val="0"/>
            </c:dLbl>
            <c:dLbl>
              <c:idx val="14"/>
              <c:tx>
                <c:rich>
                  <a:bodyPr/>
                  <a:lstStyle/>
                  <a:p>
                    <a:r>
                      <a:t>286.0</a:t>
                    </a:r>
                  </a:p>
                </c:rich>
              </c:tx>
              <c:showLegendKey val="0"/>
              <c:showVal val="1"/>
              <c:showCatName val="0"/>
              <c:showSerName val="0"/>
              <c:showPercent val="0"/>
              <c:showBubbleSize val="0"/>
            </c:dLbl>
            <c:dLbl>
              <c:idx val="15"/>
              <c:tx>
                <c:rich>
                  <a:bodyPr/>
                  <a:lstStyle/>
                  <a:p>
                    <a:r>
                      <a:t>719.0</a:t>
                    </a:r>
                  </a:p>
                </c:rich>
              </c:tx>
              <c:showLegendKey val="0"/>
              <c:showVal val="1"/>
              <c:showCatName val="0"/>
              <c:showSerName val="0"/>
              <c:showPercent val="0"/>
              <c:showBubbleSize val="0"/>
            </c:dLbl>
            <c:dLbl>
              <c:idx val="16"/>
              <c:tx>
                <c:rich>
                  <a:bodyPr/>
                  <a:lstStyle/>
                  <a:p>
                    <a:r>
                      <a:t>714.63</a:t>
                    </a:r>
                  </a:p>
                </c:rich>
              </c:tx>
              <c:showLegendKey val="0"/>
              <c:showVal val="1"/>
              <c:showCatName val="0"/>
              <c:showSerName val="0"/>
              <c:showPercent val="0"/>
              <c:showBubbleSize val="0"/>
            </c:dLbl>
            <c:dLbl>
              <c:idx val="17"/>
              <c:tx>
                <c:rich>
                  <a:bodyPr/>
                  <a:lstStyle/>
                  <a:p>
                    <a:r>
                      <a:t>616.0</a:t>
                    </a:r>
                  </a:p>
                </c:rich>
              </c:tx>
              <c:showLegendKey val="0"/>
              <c:showVal val="1"/>
              <c:showCatName val="0"/>
              <c:showSerName val="0"/>
              <c:showPercent val="0"/>
              <c:showBubbleSize val="0"/>
            </c:dLbl>
            <c:dLbl>
              <c:idx val="18"/>
              <c:tx>
                <c:rich>
                  <a:bodyPr/>
                  <a:lstStyle/>
                  <a:p>
                    <a:r>
                      <a:t>170.0</a:t>
                    </a:r>
                  </a:p>
                </c:rich>
              </c:tx>
              <c:showLegendKey val="0"/>
              <c:showVal val="1"/>
              <c:showCatName val="0"/>
              <c:showSerName val="0"/>
              <c:showPercent val="0"/>
              <c:showBubbleSize val="0"/>
            </c:dLbl>
            <c:dLbl>
              <c:idx val="19"/>
              <c:tx>
                <c:rich>
                  <a:bodyPr/>
                  <a:lstStyle/>
                  <a:p>
                    <a:r>
                      <a:t>829.0</a:t>
                    </a:r>
                  </a:p>
                </c:rich>
              </c:tx>
              <c:showLegendKey val="0"/>
              <c:showVal val="1"/>
              <c:showCatName val="0"/>
              <c:showSerName val="0"/>
              <c:showPercent val="0"/>
              <c:showBubbleSize val="0"/>
            </c:dLbl>
            <c:dLbl>
              <c:idx val="20"/>
              <c:tx>
                <c:rich>
                  <a:bodyPr/>
                  <a:lstStyle/>
                  <a:p>
                    <a:r>
                      <a:t>752.33</a:t>
                    </a:r>
                  </a:p>
                </c:rich>
              </c:tx>
              <c:showLegendKey val="0"/>
              <c:showVal val="1"/>
              <c:showCatName val="0"/>
              <c:showSerName val="0"/>
              <c:showPercent val="0"/>
              <c:showBubbleSize val="0"/>
            </c:dLbl>
            <c:dLbl>
              <c:idx val="21"/>
              <c:tx>
                <c:rich>
                  <a:bodyPr/>
                  <a:lstStyle/>
                  <a:p>
                    <a:r>
                      <a:t>889.0</a:t>
                    </a:r>
                  </a:p>
                </c:rich>
              </c:tx>
              <c:showLegendKey val="0"/>
              <c:showVal val="1"/>
              <c:showCatName val="0"/>
              <c:showSerName val="0"/>
              <c:showPercent val="0"/>
              <c:showBubbleSize val="0"/>
            </c:dLbl>
            <c:dLbl>
              <c:idx val="22"/>
              <c:tx>
                <c:rich>
                  <a:bodyPr/>
                  <a:lstStyle/>
                  <a:p>
                    <a:r>
                      <a:t>752.33</a:t>
                    </a:r>
                  </a:p>
                </c:rich>
              </c:tx>
              <c:showLegendKey val="0"/>
              <c:showVal val="1"/>
              <c:showCatName val="0"/>
              <c:showSerName val="0"/>
              <c:showPercent val="0"/>
              <c:showBubbleSize val="0"/>
            </c:dLbl>
            <c:dLbl>
              <c:idx val="23"/>
              <c:tx>
                <c:rich>
                  <a:bodyPr/>
                  <a:lstStyle/>
                  <a:p>
                    <a:r>
                      <a:t>739.0</a:t>
                    </a:r>
                  </a:p>
                </c:rich>
              </c:tx>
              <c:showLegendKey val="0"/>
              <c:showVal val="1"/>
              <c:showCatName val="0"/>
              <c:showSerName val="0"/>
              <c:showPercent val="0"/>
              <c:showBubbleSize val="0"/>
            </c:dLbl>
            <c:dLbl>
              <c:idx val="24"/>
              <c:tx>
                <c:rich>
                  <a:bodyPr/>
                  <a:lstStyle/>
                  <a:p>
                    <a:r>
                      <a:t>689.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6</c:f>
              <c:strCache>
                <c:ptCount val="25"/>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pt idx="4">
                  <c:v>Edgewell Hawaiian Tropic Carrot Tanning Adults Cosmetics Crema 10 - 14 240Ml</c:v>
                </c:pt>
                <c:pt idx="5">
                  <c:v>Edgewell Hawaiian Tropic Other Sunscreen Adults Cosmetics Crema 50+ 240Ml</c:v>
                </c:pt>
                <c:pt idx="6">
                  <c:v>Edgewell Hawaiian Tropic Sheer Touch Sunscreen Adults Cosmetics Crema 30 - 49 240Ml</c:v>
                </c:pt>
                <c:pt idx="7">
                  <c:v>Edgewell Hawaiian Tropic Sheer Touch Sunscreen Adults Cosmetics Crema 50 120Ml</c:v>
                </c:pt>
                <c:pt idx="8">
                  <c:v>Beiersdorf Eucerin Sunscreen Adults Derma Crema 50+ 200Ml</c:v>
                </c:pt>
                <c:pt idx="9">
                  <c:v>Beiersdorf Eucerin Sunscreen Adults Derma Crema 50+ 50Ml</c:v>
                </c:pt>
                <c:pt idx="10">
                  <c:v>Beiersdorf Nivea After Sun Adults Cosmetics Crema 0 - 5 200Ml</c:v>
                </c:pt>
                <c:pt idx="11">
                  <c:v>Beiersdorf Nivea Sunscreen Adults Cosmetics Crema 50 50Ml</c:v>
                </c:pt>
                <c:pt idx="12">
                  <c:v>Beiersdorf Nivea Sunscreen Adults Cosmetics Crema 50+ 200Ml</c:v>
                </c:pt>
                <c:pt idx="13">
                  <c:v>Beiersdorf Nivea Sunscreen Adults Cosmetics Crema 50+ 40Ml</c:v>
                </c:pt>
                <c:pt idx="14">
                  <c:v>Beiersdorf Nivea Sunscreen Adults Cosmetics Crema 50+ 50Ml</c:v>
                </c:pt>
                <c:pt idx="15">
                  <c:v>Isdin Isdin Sunscreen Adults Derma Crema 30 50Ml</c:v>
                </c:pt>
                <c:pt idx="16">
                  <c:v>Isdin Isdin Sunscreen Adults Derma Crema 50 50Ml</c:v>
                </c:pt>
                <c:pt idx="17">
                  <c:v>Isdin Isdin Sunscreen Adults Derma Crema 50+ 50Ml</c:v>
                </c:pt>
                <c:pt idx="18">
                  <c:v>L'Oreal Garnier Sunscreen Adults Cosmetics Crema 50+ 40Ml</c:v>
                </c:pt>
                <c:pt idx="19">
                  <c:v>L'Oreal La Roche-Posay Sunscreen Adults Derma Crema 50+ 250Ml</c:v>
                </c:pt>
                <c:pt idx="20">
                  <c:v>L'Oreal La Roche-Posay Sunscreen Adults Derma Crema 50+ 50Ml</c:v>
                </c:pt>
                <c:pt idx="21">
                  <c:v>L'Oreal Vichy Sunscreen Adults Derma Crema 50 300Ml</c:v>
                </c:pt>
                <c:pt idx="22">
                  <c:v>L'Oreal Vichy Sunscreen Adults Derma Crema 50 50Ml</c:v>
                </c:pt>
                <c:pt idx="23">
                  <c:v>L'Oreal Vichy Sunscreen Adults Derma Crema 50+ 200Ml</c:v>
                </c:pt>
                <c:pt idx="24">
                  <c:v>L'Oreal Vichy Sunscreen Adults Derma Crema 50+ 40Ml</c:v>
                </c:pt>
              </c:strCache>
            </c:strRef>
          </c:cat>
          <c:val>
            <c:numRef>
              <c:f>Sheet1!$B$2:$B$26</c:f>
              <c:numCache>
                <c:formatCode>General</c:formatCode>
                <c:ptCount val="25"/>
                <c:pt idx="0">
                  <c:v>305.0</c:v>
                </c:pt>
                <c:pt idx="1">
                  <c:v>305.0</c:v>
                </c:pt>
                <c:pt idx="2">
                  <c:v>335.0</c:v>
                </c:pt>
                <c:pt idx="3">
                  <c:v>305.0</c:v>
                </c:pt>
                <c:pt idx="4">
                  <c:v>299.0</c:v>
                </c:pt>
                <c:pt idx="5">
                  <c:v>350.0</c:v>
                </c:pt>
                <c:pt idx="6">
                  <c:v>299.0</c:v>
                </c:pt>
                <c:pt idx="7">
                  <c:v>205.0</c:v>
                </c:pt>
                <c:pt idx="8">
                  <c:v>819.0</c:v>
                </c:pt>
                <c:pt idx="9">
                  <c:v>651.98</c:v>
                </c:pt>
                <c:pt idx="10">
                  <c:v>92.0</c:v>
                </c:pt>
                <c:pt idx="11">
                  <c:v>254.33</c:v>
                </c:pt>
                <c:pt idx="12">
                  <c:v>319.0</c:v>
                </c:pt>
                <c:pt idx="13">
                  <c:v>220.0</c:v>
                </c:pt>
                <c:pt idx="14">
                  <c:v>286.0</c:v>
                </c:pt>
                <c:pt idx="15">
                  <c:v>719.0</c:v>
                </c:pt>
                <c:pt idx="16">
                  <c:v>714.63</c:v>
                </c:pt>
                <c:pt idx="17">
                  <c:v>616.0</c:v>
                </c:pt>
                <c:pt idx="18">
                  <c:v>170.0</c:v>
                </c:pt>
                <c:pt idx="19">
                  <c:v>829.0</c:v>
                </c:pt>
                <c:pt idx="20">
                  <c:v>752.33</c:v>
                </c:pt>
                <c:pt idx="21">
                  <c:v>889.0</c:v>
                </c:pt>
                <c:pt idx="22">
                  <c:v>752.33</c:v>
                </c:pt>
                <c:pt idx="23">
                  <c:v>739.0</c:v>
                </c:pt>
                <c:pt idx="24">
                  <c:v>689.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240.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179.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dLbl>
              <c:idx val="6"/>
              <c:tx>
                <c:rich>
                  <a:bodyPr/>
                  <a:lstStyle/>
                  <a:p>
                    <a:r>
                      <a:t>205.0</a:t>
                    </a:r>
                  </a:p>
                </c:rich>
              </c:tx>
              <c:showLegendKey val="0"/>
              <c:showVal val="1"/>
              <c:showCatName val="0"/>
              <c:showSerName val="0"/>
              <c:showPercent val="0"/>
              <c:showBubbleSize val="0"/>
            </c:dLbl>
            <c:dLbl>
              <c:idx val="7"/>
              <c:tx>
                <c:rich>
                  <a:bodyPr/>
                  <a:lstStyle/>
                  <a:p>
                    <a:r>
                      <a:t>350.0</a:t>
                    </a:r>
                  </a:p>
                </c:rich>
              </c:tx>
              <c:showLegendKey val="0"/>
              <c:showVal val="1"/>
              <c:showCatName val="0"/>
              <c:showSerName val="0"/>
              <c:showPercent val="0"/>
              <c:showBubbleSize val="0"/>
            </c:dLbl>
            <c:dLbl>
              <c:idx val="8"/>
              <c:tx>
                <c:rich>
                  <a:bodyPr/>
                  <a:lstStyle/>
                  <a:p>
                    <a:r>
                      <a:t>350.0</a:t>
                    </a:r>
                  </a:p>
                </c:rich>
              </c:tx>
              <c:showLegendKey val="0"/>
              <c:showVal val="1"/>
              <c:showCatName val="0"/>
              <c:showSerName val="0"/>
              <c:showPercent val="0"/>
              <c:showBubbleSize val="0"/>
            </c:dLbl>
            <c:dLbl>
              <c:idx val="9"/>
              <c:tx>
                <c:rich>
                  <a:bodyPr/>
                  <a:lstStyle/>
                  <a:p>
                    <a:r>
                      <a:t>125.0</a:t>
                    </a:r>
                  </a:p>
                </c:rich>
              </c:tx>
              <c:showLegendKey val="0"/>
              <c:showVal val="1"/>
              <c:showCatName val="0"/>
              <c:showSerName val="0"/>
              <c:showPercent val="0"/>
              <c:showBubbleSize val="0"/>
            </c:dLbl>
            <c:dLbl>
              <c:idx val="10"/>
              <c:tx>
                <c:rich>
                  <a:bodyPr/>
                  <a:lstStyle/>
                  <a:p>
                    <a:r>
                      <a:t>105.0</a:t>
                    </a:r>
                  </a:p>
                </c:rich>
              </c:tx>
              <c:showLegendKey val="0"/>
              <c:showVal val="1"/>
              <c:showCatName val="0"/>
              <c:showSerName val="0"/>
              <c:showPercent val="0"/>
              <c:showBubbleSize val="0"/>
            </c:dLbl>
            <c:dLbl>
              <c:idx val="11"/>
              <c:tx>
                <c:rich>
                  <a:bodyPr/>
                  <a:lstStyle/>
                  <a:p>
                    <a:r>
                      <a:t>549.0</a:t>
                    </a:r>
                  </a:p>
                </c:rich>
              </c:tx>
              <c:showLegendKey val="0"/>
              <c:showVal val="1"/>
              <c:showCatName val="0"/>
              <c:showSerName val="0"/>
              <c:showPercent val="0"/>
              <c:showBubbleSize val="0"/>
            </c:dLbl>
            <c:dLbl>
              <c:idx val="12"/>
              <c:tx>
                <c:rich>
                  <a:bodyPr/>
                  <a:lstStyle/>
                  <a:p>
                    <a:r>
                      <a:t>278.0</a:t>
                    </a:r>
                  </a:p>
                </c:rich>
              </c:tx>
              <c:showLegendKey val="0"/>
              <c:showVal val="1"/>
              <c:showCatName val="0"/>
              <c:showSerName val="0"/>
              <c:showPercent val="0"/>
              <c:showBubbleSize val="0"/>
            </c:dLbl>
            <c:dLbl>
              <c:idx val="13"/>
              <c:tx>
                <c:rich>
                  <a:bodyPr/>
                  <a:lstStyle/>
                  <a:p>
                    <a:r>
                      <a:t>393.9</a:t>
                    </a:r>
                  </a:p>
                </c:rich>
              </c:tx>
              <c:showLegendKey val="0"/>
              <c:showVal val="1"/>
              <c:showCatName val="0"/>
              <c:showSerName val="0"/>
              <c:showPercent val="0"/>
              <c:showBubbleSize val="0"/>
            </c:dLbl>
            <c:dLbl>
              <c:idx val="14"/>
              <c:tx>
                <c:rich>
                  <a:bodyPr/>
                  <a:lstStyle/>
                  <a:p>
                    <a:r>
                      <a:t>188.0</a:t>
                    </a:r>
                  </a:p>
                </c:rich>
              </c:tx>
              <c:showLegendKey val="0"/>
              <c:showVal val="1"/>
              <c:showCatName val="0"/>
              <c:showSerName val="0"/>
              <c:showPercent val="0"/>
              <c:showBubbleSize val="0"/>
            </c:dLbl>
            <c:dLbl>
              <c:idx val="15"/>
              <c:tx>
                <c:rich>
                  <a:bodyPr/>
                  <a:lstStyle/>
                  <a:p>
                    <a:r>
                      <a:t>310.0</a:t>
                    </a:r>
                  </a:p>
                </c:rich>
              </c:tx>
              <c:showLegendKey val="0"/>
              <c:showVal val="1"/>
              <c:showCatName val="0"/>
              <c:showSerName val="0"/>
              <c:showPercent val="0"/>
              <c:showBubbleSize val="0"/>
            </c:dLbl>
            <c:dLbl>
              <c:idx val="16"/>
              <c:tx>
                <c:rich>
                  <a:bodyPr/>
                  <a:lstStyle/>
                  <a:p>
                    <a:r>
                      <a:t>689.0</a:t>
                    </a:r>
                  </a:p>
                </c:rich>
              </c:tx>
              <c:showLegendKey val="0"/>
              <c:showVal val="1"/>
              <c:showCatName val="0"/>
              <c:showSerName val="0"/>
              <c:showPercent val="0"/>
              <c:showBubbleSize val="0"/>
            </c:dLbl>
            <c:dLbl>
              <c:idx val="17"/>
              <c:tx>
                <c:rich>
                  <a:bodyPr/>
                  <a:lstStyle/>
                  <a:p>
                    <a:r>
                      <a:t>220.0</a:t>
                    </a:r>
                  </a:p>
                </c:rich>
              </c:tx>
              <c:showLegendKey val="0"/>
              <c:showVal val="1"/>
              <c:showCatName val="0"/>
              <c:showSerName val="0"/>
              <c:showPercent val="0"/>
              <c:showBubbleSize val="0"/>
            </c:dLbl>
            <c:dLbl>
              <c:idx val="18"/>
              <c:tx>
                <c:rich>
                  <a:bodyPr/>
                  <a:lstStyle/>
                  <a:p>
                    <a:r>
                      <a:t>195.0</a:t>
                    </a:r>
                  </a:p>
                </c:rich>
              </c:tx>
              <c:showLegendKey val="0"/>
              <c:showVal val="1"/>
              <c:showCatName val="0"/>
              <c:showSerName val="0"/>
              <c:showPercent val="0"/>
              <c:showBubbleSize val="0"/>
            </c:dLbl>
            <c:dLbl>
              <c:idx val="19"/>
              <c:tx>
                <c:rich>
                  <a:bodyPr/>
                  <a:lstStyle/>
                  <a:p>
                    <a:r>
                      <a:t>265.0</a:t>
                    </a:r>
                  </a:p>
                </c:rich>
              </c:tx>
              <c:showLegendKey val="0"/>
              <c:showVal val="1"/>
              <c:showCatName val="0"/>
              <c:showSerName val="0"/>
              <c:showPercent val="0"/>
              <c:showBubbleSize val="0"/>
            </c:dLbl>
            <c:dLbl>
              <c:idx val="20"/>
              <c:tx>
                <c:rich>
                  <a:bodyPr/>
                  <a:lstStyle/>
                  <a:p>
                    <a:r>
                      <a:t>861.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Edgewell Banana Boat Advanced Protection Sunscreen Adults Cosmetics Liquido 50+ 240Ml</c:v>
                </c:pt>
                <c:pt idx="1">
                  <c:v>Edgewell Beauty Care Antioxidant Sunscreen Adults Cosmetics Liquido 15 - 19 100Ml</c:v>
                </c:pt>
                <c:pt idx="2">
                  <c:v>Edgewell Beauty Care Antioxidant Sunscreen Adults Cosmetics Liquido 50+ 50Ml</c:v>
                </c:pt>
                <c:pt idx="3">
                  <c:v>Edgewell Beauty Care Matte Sunscreen Adults Cosmetics Liquido 30 50Ml</c:v>
                </c:pt>
                <c:pt idx="4">
                  <c:v>Edgewell Beauty Care Sensitive Sunscreen Adults Cosmetics Liquido 50+ 50Ml</c:v>
                </c:pt>
                <c:pt idx="5">
                  <c:v>Edgewell Hawaiian Tropic Island Sport Sunscreen Adults Sport Liquido 50 60Ml</c:v>
                </c:pt>
                <c:pt idx="6">
                  <c:v>Edgewell Hawaiian Tropic Ozono Sunscreen Adults Cosmetics Liquido 50+ 120Ml</c:v>
                </c:pt>
                <c:pt idx="7">
                  <c:v>Edgewell Hawaiian Tropic Ozono Sunscreen Adults Cosmetics Liquido 50+ 180Ml</c:v>
                </c:pt>
                <c:pt idx="8">
                  <c:v>Edgewell Hawaiian Tropic Ozono Sunscreen Adults Cosmetics Liquido 50+ 240Ml</c:v>
                </c:pt>
                <c:pt idx="9">
                  <c:v>Edgewell Hawaiian Tropic Ozono Sunscreen Adults Cosmetics Liquido 50+ 90Ml</c:v>
                </c:pt>
                <c:pt idx="10">
                  <c:v>Edgewell Hawaiian Tropic Sheer Touch Sunscreen Adults Cosmetics Liquido 30 - 49 60Ml</c:v>
                </c:pt>
                <c:pt idx="11">
                  <c:v>Beiersdorf Eucerin Sunscreen Adults Derma Liquido 50 150Ml</c:v>
                </c:pt>
                <c:pt idx="12">
                  <c:v>Beiersdorf Nivea Sunscreen Adults Cosmetics Liquido 30 - 49 200Ml</c:v>
                </c:pt>
                <c:pt idx="13">
                  <c:v>Beiersdorf Nivea Sunscreen Adults Cosmetics Liquido 50 200Ml</c:v>
                </c:pt>
                <c:pt idx="14">
                  <c:v>Beiersdorf Nivea Sunscreen Adults Cosmetics Liquido 50+ 125Ml</c:v>
                </c:pt>
                <c:pt idx="15">
                  <c:v>Beiersdorf Nivea Sunscreen Kids Cosmetics Liquido 50+ 200Ml</c:v>
                </c:pt>
                <c:pt idx="16">
                  <c:v>L'Oreal La Roche-Posay Sunscreen Adults Derma Liquido 50+ 50Ml</c:v>
                </c:pt>
                <c:pt idx="17">
                  <c:v>L'Oreal Loreal Paris Sunscreen Adults Derma Liquido 50+ 40Ml</c:v>
                </c:pt>
                <c:pt idx="18">
                  <c:v>Others Fabricante Unif. Others Marca Unif. After Sun Adults Cosmetics Liquido 0 - 5 165Ml</c:v>
                </c:pt>
                <c:pt idx="19">
                  <c:v>Others Fabricante Unif. Others Marca Unif. Sunscreen Adults Cosmetics Liquido 30 50Ml</c:v>
                </c:pt>
                <c:pt idx="20">
                  <c:v>Others Fabricante Unif. Others Marca Unif. Sunscreen Adults Derma Liquido 50+ 50Ml</c:v>
                </c:pt>
              </c:strCache>
            </c:strRef>
          </c:cat>
          <c:val>
            <c:numRef>
              <c:f>Sheet1!$B$2:$B$22</c:f>
              <c:numCache>
                <c:formatCode>General</c:formatCode>
                <c:ptCount val="21"/>
                <c:pt idx="0">
                  <c:v>310.0</c:v>
                </c:pt>
                <c:pt idx="1">
                  <c:v>240.0</c:v>
                </c:pt>
                <c:pt idx="2">
                  <c:v>179.0</c:v>
                </c:pt>
                <c:pt idx="3">
                  <c:v>179.0</c:v>
                </c:pt>
                <c:pt idx="4">
                  <c:v>179.0</c:v>
                </c:pt>
                <c:pt idx="5">
                  <c:v>105.0</c:v>
                </c:pt>
                <c:pt idx="6">
                  <c:v>205.0</c:v>
                </c:pt>
                <c:pt idx="7">
                  <c:v>350.0</c:v>
                </c:pt>
                <c:pt idx="8">
                  <c:v>350.0</c:v>
                </c:pt>
                <c:pt idx="9">
                  <c:v>125.0</c:v>
                </c:pt>
                <c:pt idx="10">
                  <c:v>105.0</c:v>
                </c:pt>
                <c:pt idx="11">
                  <c:v>549.0</c:v>
                </c:pt>
                <c:pt idx="12">
                  <c:v>278.0</c:v>
                </c:pt>
                <c:pt idx="13">
                  <c:v>393.9</c:v>
                </c:pt>
                <c:pt idx="14">
                  <c:v>188.0</c:v>
                </c:pt>
                <c:pt idx="15">
                  <c:v>310.0</c:v>
                </c:pt>
                <c:pt idx="16">
                  <c:v>689.0</c:v>
                </c:pt>
                <c:pt idx="17">
                  <c:v>220.0</c:v>
                </c:pt>
                <c:pt idx="18">
                  <c:v>195.0</c:v>
                </c:pt>
                <c:pt idx="19">
                  <c:v>265.0</c:v>
                </c:pt>
                <c:pt idx="20">
                  <c:v>861.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699.0</a:t>
                    </a:r>
                  </a:p>
                </c:rich>
              </c:tx>
              <c:showLegendKey val="0"/>
              <c:showVal val="1"/>
              <c:showCatName val="0"/>
              <c:showSerName val="0"/>
              <c:showPercent val="0"/>
              <c:showBubbleSize val="0"/>
            </c:dLbl>
            <c:dLbl>
              <c:idx val="3"/>
              <c:tx>
                <c:rich>
                  <a:bodyPr/>
                  <a:lstStyle/>
                  <a:p>
                    <a:r>
                      <a:t>423.9</a:t>
                    </a:r>
                  </a:p>
                </c:rich>
              </c:tx>
              <c:showLegendKey val="0"/>
              <c:showVal val="1"/>
              <c:showCatName val="0"/>
              <c:showSerName val="0"/>
              <c:showPercent val="0"/>
              <c:showBubbleSize val="0"/>
            </c:dLbl>
            <c:dLbl>
              <c:idx val="4"/>
              <c:tx>
                <c:rich>
                  <a:bodyPr/>
                  <a:lstStyle/>
                  <a:p>
                    <a:r>
                      <a:t>349.0</a:t>
                    </a:r>
                  </a:p>
                </c:rich>
              </c:tx>
              <c:showLegendKey val="0"/>
              <c:showVal val="1"/>
              <c:showCatName val="0"/>
              <c:showSerName val="0"/>
              <c:showPercent val="0"/>
              <c:showBubbleSize val="0"/>
            </c:dLbl>
            <c:dLbl>
              <c:idx val="5"/>
              <c:tx>
                <c:rich>
                  <a:bodyPr/>
                  <a:lstStyle/>
                  <a:p>
                    <a:r>
                      <a:t>637.5</a:t>
                    </a:r>
                  </a:p>
                </c:rich>
              </c:tx>
              <c:showLegendKey val="0"/>
              <c:showVal val="1"/>
              <c:showCatName val="0"/>
              <c:showSerName val="0"/>
              <c:showPercent val="0"/>
              <c:showBubbleSize val="0"/>
            </c:dLbl>
            <c:dLbl>
              <c:idx val="6"/>
              <c:tx>
                <c:rich>
                  <a:bodyPr/>
                  <a:lstStyle/>
                  <a:p>
                    <a:r>
                      <a:t>5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fter Sun After Sun Adults Cosmetics Gel 0 - 5 230Ml</c:v>
                </c:pt>
                <c:pt idx="1">
                  <c:v>Edgewell Hawaiian Tropic After Sun After Sun Adults Cosmetics Gel 0 - 5 240Ml</c:v>
                </c:pt>
                <c:pt idx="2">
                  <c:v>Beiersdorf Eucerin Sunscreen Adults Derma Gel 50+ 50Ml</c:v>
                </c:pt>
                <c:pt idx="3">
                  <c:v>Beiersdorf Nivea Sunscreen Adults Cosmetics Gel 50+ 200Ml</c:v>
                </c:pt>
                <c:pt idx="4">
                  <c:v>Beiersdorf Nivea Sunscreen Kids Cosmetics Gel 50+ 150Ml</c:v>
                </c:pt>
                <c:pt idx="5">
                  <c:v>Isdin Isdin Sunscreen Adults Derma Gel 50+ 250Ml</c:v>
                </c:pt>
                <c:pt idx="6">
                  <c:v>L'Oreal La Roche-Posay Sunscreen Adults Derma Gel 50+ 50Ml</c:v>
                </c:pt>
              </c:strCache>
            </c:strRef>
          </c:cat>
          <c:val>
            <c:numRef>
              <c:f>Sheet1!$B$2:$B$8</c:f>
              <c:numCache>
                <c:formatCode>General</c:formatCode>
                <c:ptCount val="7"/>
                <c:pt idx="0">
                  <c:v>105.0</c:v>
                </c:pt>
                <c:pt idx="1">
                  <c:v>299.0</c:v>
                </c:pt>
                <c:pt idx="2">
                  <c:v>699.0</c:v>
                </c:pt>
                <c:pt idx="3">
                  <c:v>423.9</c:v>
                </c:pt>
                <c:pt idx="4">
                  <c:v>349.0</c:v>
                </c:pt>
                <c:pt idx="5">
                  <c:v>637.5</c:v>
                </c:pt>
                <c:pt idx="6">
                  <c:v>5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315.0</a:t>
                    </a:r>
                  </a:p>
                </c:rich>
              </c:tx>
              <c:showLegendKey val="0"/>
              <c:showVal val="1"/>
              <c:showCatName val="0"/>
              <c:showSerName val="0"/>
              <c:showPercent val="0"/>
              <c:showBubbleSize val="0"/>
            </c:dLbl>
            <c:dLbl>
              <c:idx val="4"/>
              <c:tx>
                <c:rich>
                  <a:bodyPr/>
                  <a:lstStyle/>
                  <a:p>
                    <a:r>
                      <a:t>829.0</a:t>
                    </a:r>
                  </a:p>
                </c:rich>
              </c:tx>
              <c:showLegendKey val="0"/>
              <c:showVal val="1"/>
              <c:showCatName val="0"/>
              <c:showSerName val="0"/>
              <c:showPercent val="0"/>
              <c:showBubbleSize val="0"/>
            </c:dLbl>
            <c:dLbl>
              <c:idx val="5"/>
              <c:tx>
                <c:rich>
                  <a:bodyPr/>
                  <a:lstStyle/>
                  <a:p>
                    <a:r>
                      <a:t>326.0</a:t>
                    </a:r>
                  </a:p>
                </c:rich>
              </c:tx>
              <c:showLegendKey val="0"/>
              <c:showVal val="1"/>
              <c:showCatName val="0"/>
              <c:showSerName val="0"/>
              <c:showPercent val="0"/>
              <c:showBubbleSize val="0"/>
            </c:dLbl>
            <c:dLbl>
              <c:idx val="6"/>
              <c:tx>
                <c:rich>
                  <a:bodyPr/>
                  <a:lstStyle/>
                  <a:p>
                    <a:r>
                      <a:t>365.0</a:t>
                    </a:r>
                  </a:p>
                </c:rich>
              </c:tx>
              <c:showLegendKey val="0"/>
              <c:showVal val="1"/>
              <c:showCatName val="0"/>
              <c:showSerName val="0"/>
              <c:showPercent val="0"/>
              <c:showBubbleSize val="0"/>
            </c:dLbl>
            <c:dLbl>
              <c:idx val="7"/>
              <c:tx>
                <c:rich>
                  <a:bodyPr/>
                  <a:lstStyle/>
                  <a:p>
                    <a:r>
                      <a:t>600.0</a:t>
                    </a:r>
                  </a:p>
                </c:rich>
              </c:tx>
              <c:showLegendKey val="0"/>
              <c:showVal val="1"/>
              <c:showCatName val="0"/>
              <c:showSerName val="0"/>
              <c:showPercent val="0"/>
              <c:showBubbleSize val="0"/>
            </c:dLbl>
            <c:dLbl>
              <c:idx val="8"/>
              <c:tx>
                <c:rich>
                  <a:bodyPr/>
                  <a:lstStyle/>
                  <a:p>
                    <a:r>
                      <a:t>60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Aqua Protect Sunscreen Adults Cosmetics Spray Liquido 50+ 170Ml</c:v>
                </c:pt>
                <c:pt idx="1">
                  <c:v>Edgewell Banana Boat Dry Balance Sunscreen Adults Sport Spray Liquido 50 220Ml</c:v>
                </c:pt>
                <c:pt idx="2">
                  <c:v>Edgewell Hawaiian Tropic Ozono Sunscreen Adults Cosmetics Spray Liquido 50+ 180Ml</c:v>
                </c:pt>
                <c:pt idx="3">
                  <c:v>Edgewell Hawaiian Tropic Tanning Sunscreen Adults Cosmetics Spray Liquido 15 - 19 220Ml</c:v>
                </c:pt>
                <c:pt idx="4">
                  <c:v>Beiersdorf Eucerin Sunscreen Adults Derma Spray Liquido 50 200Ml</c:v>
                </c:pt>
                <c:pt idx="5">
                  <c:v>Beiersdorf Nivea Sunscreen Adults Cosmetics Spray Liquido 50 200Ml</c:v>
                </c:pt>
                <c:pt idx="6">
                  <c:v>Beiersdorf Nivea Sunscreen Kids Cosmetics Spray Liquido 50+ 200Ml</c:v>
                </c:pt>
                <c:pt idx="7">
                  <c:v>Isdin Isdin Sunscreen Adults Derma Spray Liquido 50 100Ml</c:v>
                </c:pt>
                <c:pt idx="8">
                  <c:v>Others Fabricante Unif. Others Marca Unif. Tanning Adults Cosmetics Spray Liquido 0 - 5 177Ml</c:v>
                </c:pt>
              </c:strCache>
            </c:strRef>
          </c:cat>
          <c:val>
            <c:numRef>
              <c:f>Sheet1!$B$2:$B$10</c:f>
              <c:numCache>
                <c:formatCode>General</c:formatCode>
                <c:ptCount val="9"/>
                <c:pt idx="0">
                  <c:v>349.0</c:v>
                </c:pt>
                <c:pt idx="1">
                  <c:v>385.0</c:v>
                </c:pt>
                <c:pt idx="2">
                  <c:v>385.0</c:v>
                </c:pt>
                <c:pt idx="3">
                  <c:v>315.0</c:v>
                </c:pt>
                <c:pt idx="4">
                  <c:v>829.0</c:v>
                </c:pt>
                <c:pt idx="5">
                  <c:v>326.0</c:v>
                </c:pt>
                <c:pt idx="6">
                  <c:v>365.0</c:v>
                </c:pt>
                <c:pt idx="7">
                  <c:v>600.0</c:v>
                </c:pt>
                <c:pt idx="8">
                  <c:v>60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99.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pt idx="4">
                  <c:v>Edgewell Hawaiian Tropic Carrot Tanning Adults Cosmetics Crema 10 - 14 240Ml</c:v>
                </c:pt>
                <c:pt idx="5">
                  <c:v>Edgewell Hawaiian Tropic Other Sunscreen Adults Cosmetics Crema 50+ 240Ml</c:v>
                </c:pt>
                <c:pt idx="6">
                  <c:v>Edgewell Hawaiian Tropic Sheer Touch Sunscreen Adults Cosmetics Crema 30 - 49 240Ml</c:v>
                </c:pt>
                <c:pt idx="7">
                  <c:v>Edgewell Hawaiian Tropic Sheer Touch Sunscreen Adults Cosmetics Crema 50 120Ml</c:v>
                </c:pt>
              </c:strCache>
            </c:strRef>
          </c:cat>
          <c:val>
            <c:numRef>
              <c:f>Sheet1!$B$2:$B$9</c:f>
              <c:numCache>
                <c:formatCode>General</c:formatCode>
                <c:ptCount val="8"/>
                <c:pt idx="0">
                  <c:v>305.0</c:v>
                </c:pt>
                <c:pt idx="1">
                  <c:v>305.0</c:v>
                </c:pt>
                <c:pt idx="2">
                  <c:v>335.0</c:v>
                </c:pt>
                <c:pt idx="3">
                  <c:v>305.0</c:v>
                </c:pt>
                <c:pt idx="4">
                  <c:v>299.0</c:v>
                </c:pt>
                <c:pt idx="5">
                  <c:v>350.0</c:v>
                </c:pt>
                <c:pt idx="6">
                  <c:v>299.0</c:v>
                </c:pt>
                <c:pt idx="7">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240.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179.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dLbl>
              <c:idx val="6"/>
              <c:tx>
                <c:rich>
                  <a:bodyPr/>
                  <a:lstStyle/>
                  <a:p>
                    <a:r>
                      <a:t>205.0</a:t>
                    </a:r>
                  </a:p>
                </c:rich>
              </c:tx>
              <c:showLegendKey val="0"/>
              <c:showVal val="1"/>
              <c:showCatName val="0"/>
              <c:showSerName val="0"/>
              <c:showPercent val="0"/>
              <c:showBubbleSize val="0"/>
            </c:dLbl>
            <c:dLbl>
              <c:idx val="7"/>
              <c:tx>
                <c:rich>
                  <a:bodyPr/>
                  <a:lstStyle/>
                  <a:p>
                    <a:r>
                      <a:t>350.0</a:t>
                    </a:r>
                  </a:p>
                </c:rich>
              </c:tx>
              <c:showLegendKey val="0"/>
              <c:showVal val="1"/>
              <c:showCatName val="0"/>
              <c:showSerName val="0"/>
              <c:showPercent val="0"/>
              <c:showBubbleSize val="0"/>
            </c:dLbl>
            <c:dLbl>
              <c:idx val="8"/>
              <c:tx>
                <c:rich>
                  <a:bodyPr/>
                  <a:lstStyle/>
                  <a:p>
                    <a:r>
                      <a:t>350.0</a:t>
                    </a:r>
                  </a:p>
                </c:rich>
              </c:tx>
              <c:showLegendKey val="0"/>
              <c:showVal val="1"/>
              <c:showCatName val="0"/>
              <c:showSerName val="0"/>
              <c:showPercent val="0"/>
              <c:showBubbleSize val="0"/>
            </c:dLbl>
            <c:dLbl>
              <c:idx val="9"/>
              <c:tx>
                <c:rich>
                  <a:bodyPr/>
                  <a:lstStyle/>
                  <a:p>
                    <a:r>
                      <a:t>125.0</a:t>
                    </a:r>
                  </a:p>
                </c:rich>
              </c:tx>
              <c:showLegendKey val="0"/>
              <c:showVal val="1"/>
              <c:showCatName val="0"/>
              <c:showSerName val="0"/>
              <c:showPercent val="0"/>
              <c:showBubbleSize val="0"/>
            </c:dLbl>
            <c:dLbl>
              <c:idx val="1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anana Boat Advanced Protection Sunscreen Adults Cosmetics Liquido 50+ 240Ml</c:v>
                </c:pt>
                <c:pt idx="1">
                  <c:v>Edgewell Beauty Care Antioxidant Sunscreen Adults Cosmetics Liquido 15 - 19 100Ml</c:v>
                </c:pt>
                <c:pt idx="2">
                  <c:v>Edgewell Beauty Care Antioxidant Sunscreen Adults Cosmetics Liquido 50+ 50Ml</c:v>
                </c:pt>
                <c:pt idx="3">
                  <c:v>Edgewell Beauty Care Matte Sunscreen Adults Cosmetics Liquido 30 50Ml</c:v>
                </c:pt>
                <c:pt idx="4">
                  <c:v>Edgewell Beauty Care Sensitive Sunscreen Adults Cosmetics Liquido 50+ 50Ml</c:v>
                </c:pt>
                <c:pt idx="5">
                  <c:v>Edgewell Hawaiian Tropic Island Sport Sunscreen Adults Sport Liquido 50 60Ml</c:v>
                </c:pt>
                <c:pt idx="6">
                  <c:v>Edgewell Hawaiian Tropic Ozono Sunscreen Adults Cosmetics Liquido 50+ 120Ml</c:v>
                </c:pt>
                <c:pt idx="7">
                  <c:v>Edgewell Hawaiian Tropic Ozono Sunscreen Adults Cosmetics Liquido 50+ 180Ml</c:v>
                </c:pt>
                <c:pt idx="8">
                  <c:v>Edgewell Hawaiian Tropic Ozono Sunscreen Adults Cosmetics Liquido 50+ 240Ml</c:v>
                </c:pt>
                <c:pt idx="9">
                  <c:v>Edgewell Hawaiian Tropic Ozono Sunscreen Adults Cosmetics Liquido 50+ 90Ml</c:v>
                </c:pt>
                <c:pt idx="10">
                  <c:v>Edgewell Hawaiian Tropic Sheer Touch Sunscreen Adults Cosmetics Liquido 30 - 49 60Ml</c:v>
                </c:pt>
              </c:strCache>
            </c:strRef>
          </c:cat>
          <c:val>
            <c:numRef>
              <c:f>Sheet1!$B$2:$B$12</c:f>
              <c:numCache>
                <c:formatCode>General</c:formatCode>
                <c:ptCount val="11"/>
                <c:pt idx="0">
                  <c:v>310.0</c:v>
                </c:pt>
                <c:pt idx="1">
                  <c:v>240.0</c:v>
                </c:pt>
                <c:pt idx="2">
                  <c:v>179.0</c:v>
                </c:pt>
                <c:pt idx="3">
                  <c:v>179.0</c:v>
                </c:pt>
                <c:pt idx="4">
                  <c:v>179.0</c:v>
                </c:pt>
                <c:pt idx="5">
                  <c:v>105.0</c:v>
                </c:pt>
                <c:pt idx="6">
                  <c:v>205.0</c:v>
                </c:pt>
                <c:pt idx="7">
                  <c:v>350.0</c:v>
                </c:pt>
                <c:pt idx="8">
                  <c:v>350.0</c:v>
                </c:pt>
                <c:pt idx="9">
                  <c:v>125.0</c:v>
                </c:pt>
                <c:pt idx="1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Spray Liquido 50+ 170Ml</c:v>
                </c:pt>
                <c:pt idx="1">
                  <c:v>Edgewell Banana Boat Dry Balance Sunscreen Adults Sport Spray Liquido 50 220Ml</c:v>
                </c:pt>
                <c:pt idx="2">
                  <c:v>Edgewell Hawaiian Tropic Ozono Sunscreen Adults Cosmetics Spray Liquido 50+ 180Ml</c:v>
                </c:pt>
                <c:pt idx="3">
                  <c:v>Edgewell Hawaiian Tropic Tanning Sunscreen Adults Cosmetics Spray Liquido 15 - 19 220Ml</c:v>
                </c:pt>
              </c:strCache>
            </c:strRef>
          </c:cat>
          <c:val>
            <c:numRef>
              <c:f>Sheet1!$B$2:$B$5</c:f>
              <c:numCache>
                <c:formatCode>General</c:formatCode>
                <c:ptCount val="4"/>
                <c:pt idx="0">
                  <c:v>349.0</c:v>
                </c:pt>
                <c:pt idx="1">
                  <c:v>385.0</c:v>
                </c:pt>
                <c:pt idx="2">
                  <c:v>385.0</c:v>
                </c:pt>
                <c:pt idx="3">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99.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pt idx="4">
                  <c:v>Edgewell Hawaiian Tropic Carrot Tanning Adults Cosmetics Crema 10 - 14 240Ml</c:v>
                </c:pt>
                <c:pt idx="5">
                  <c:v>Edgewell Hawaiian Tropic Other Sunscreen Adults Cosmetics Crema 50+ 240Ml</c:v>
                </c:pt>
                <c:pt idx="6">
                  <c:v>Edgewell Hawaiian Tropic Sheer Touch Sunscreen Adults Cosmetics Crema 30 - 49 240Ml</c:v>
                </c:pt>
                <c:pt idx="7">
                  <c:v>Edgewell Hawaiian Tropic Sheer Touch Sunscreen Adults Cosmetics Crema 50 120Ml</c:v>
                </c:pt>
              </c:strCache>
            </c:strRef>
          </c:cat>
          <c:val>
            <c:numRef>
              <c:f>Sheet1!$B$2:$B$9</c:f>
              <c:numCache>
                <c:formatCode>General</c:formatCode>
                <c:ptCount val="8"/>
                <c:pt idx="0">
                  <c:v>305.0</c:v>
                </c:pt>
                <c:pt idx="1">
                  <c:v>305.0</c:v>
                </c:pt>
                <c:pt idx="2">
                  <c:v>335.0</c:v>
                </c:pt>
                <c:pt idx="3">
                  <c:v>305.0</c:v>
                </c:pt>
                <c:pt idx="4">
                  <c:v>299.0</c:v>
                </c:pt>
                <c:pt idx="5">
                  <c:v>350.0</c:v>
                </c:pt>
                <c:pt idx="6">
                  <c:v>299.0</c:v>
                </c:pt>
                <c:pt idx="7">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240.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179.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dLbl>
              <c:idx val="6"/>
              <c:tx>
                <c:rich>
                  <a:bodyPr/>
                  <a:lstStyle/>
                  <a:p>
                    <a:r>
                      <a:t>205.0</a:t>
                    </a:r>
                  </a:p>
                </c:rich>
              </c:tx>
              <c:showLegendKey val="0"/>
              <c:showVal val="1"/>
              <c:showCatName val="0"/>
              <c:showSerName val="0"/>
              <c:showPercent val="0"/>
              <c:showBubbleSize val="0"/>
            </c:dLbl>
            <c:dLbl>
              <c:idx val="7"/>
              <c:tx>
                <c:rich>
                  <a:bodyPr/>
                  <a:lstStyle/>
                  <a:p>
                    <a:r>
                      <a:t>350.0</a:t>
                    </a:r>
                  </a:p>
                </c:rich>
              </c:tx>
              <c:showLegendKey val="0"/>
              <c:showVal val="1"/>
              <c:showCatName val="0"/>
              <c:showSerName val="0"/>
              <c:showPercent val="0"/>
              <c:showBubbleSize val="0"/>
            </c:dLbl>
            <c:dLbl>
              <c:idx val="8"/>
              <c:tx>
                <c:rich>
                  <a:bodyPr/>
                  <a:lstStyle/>
                  <a:p>
                    <a:r>
                      <a:t>350.0</a:t>
                    </a:r>
                  </a:p>
                </c:rich>
              </c:tx>
              <c:showLegendKey val="0"/>
              <c:showVal val="1"/>
              <c:showCatName val="0"/>
              <c:showSerName val="0"/>
              <c:showPercent val="0"/>
              <c:showBubbleSize val="0"/>
            </c:dLbl>
            <c:dLbl>
              <c:idx val="9"/>
              <c:tx>
                <c:rich>
                  <a:bodyPr/>
                  <a:lstStyle/>
                  <a:p>
                    <a:r>
                      <a:t>125.0</a:t>
                    </a:r>
                  </a:p>
                </c:rich>
              </c:tx>
              <c:showLegendKey val="0"/>
              <c:showVal val="1"/>
              <c:showCatName val="0"/>
              <c:showSerName val="0"/>
              <c:showPercent val="0"/>
              <c:showBubbleSize val="0"/>
            </c:dLbl>
            <c:dLbl>
              <c:idx val="1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anana Boat Advanced Protection Sunscreen Adults Cosmetics Liquido 50+ 240Ml</c:v>
                </c:pt>
                <c:pt idx="1">
                  <c:v>Edgewell Beauty Care Antioxidant Sunscreen Adults Cosmetics Liquido 15 - 19 100Ml</c:v>
                </c:pt>
                <c:pt idx="2">
                  <c:v>Edgewell Beauty Care Antioxidant Sunscreen Adults Cosmetics Liquido 50+ 50Ml</c:v>
                </c:pt>
                <c:pt idx="3">
                  <c:v>Edgewell Beauty Care Matte Sunscreen Adults Cosmetics Liquido 30 50Ml</c:v>
                </c:pt>
                <c:pt idx="4">
                  <c:v>Edgewell Beauty Care Sensitive Sunscreen Adults Cosmetics Liquido 50+ 50Ml</c:v>
                </c:pt>
                <c:pt idx="5">
                  <c:v>Edgewell Hawaiian Tropic Island Sport Sunscreen Adults Sport Liquido 50 60Ml</c:v>
                </c:pt>
                <c:pt idx="6">
                  <c:v>Edgewell Hawaiian Tropic Ozono Sunscreen Adults Cosmetics Liquido 50+ 120Ml</c:v>
                </c:pt>
                <c:pt idx="7">
                  <c:v>Edgewell Hawaiian Tropic Ozono Sunscreen Adults Cosmetics Liquido 50+ 180Ml</c:v>
                </c:pt>
                <c:pt idx="8">
                  <c:v>Edgewell Hawaiian Tropic Ozono Sunscreen Adults Cosmetics Liquido 50+ 240Ml</c:v>
                </c:pt>
                <c:pt idx="9">
                  <c:v>Edgewell Hawaiian Tropic Ozono Sunscreen Adults Cosmetics Liquido 50+ 90Ml</c:v>
                </c:pt>
                <c:pt idx="10">
                  <c:v>Edgewell Hawaiian Tropic Sheer Touch Sunscreen Adults Cosmetics Liquido 30 - 49 60Ml</c:v>
                </c:pt>
              </c:strCache>
            </c:strRef>
          </c:cat>
          <c:val>
            <c:numRef>
              <c:f>Sheet1!$B$2:$B$12</c:f>
              <c:numCache>
                <c:formatCode>General</c:formatCode>
                <c:ptCount val="11"/>
                <c:pt idx="0">
                  <c:v>310.0</c:v>
                </c:pt>
                <c:pt idx="1">
                  <c:v>240.0</c:v>
                </c:pt>
                <c:pt idx="2">
                  <c:v>179.0</c:v>
                </c:pt>
                <c:pt idx="3">
                  <c:v>179.0</c:v>
                </c:pt>
                <c:pt idx="4">
                  <c:v>179.0</c:v>
                </c:pt>
                <c:pt idx="5">
                  <c:v>105.0</c:v>
                </c:pt>
                <c:pt idx="6">
                  <c:v>205.0</c:v>
                </c:pt>
                <c:pt idx="7">
                  <c:v>350.0</c:v>
                </c:pt>
                <c:pt idx="8">
                  <c:v>350.0</c:v>
                </c:pt>
                <c:pt idx="9">
                  <c:v>125.0</c:v>
                </c:pt>
                <c:pt idx="1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Carrot Tanning Adults Cosmetics Crema 10 - 14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Spray Liquido 50+ 170Ml</c:v>
                </c:pt>
                <c:pt idx="1">
                  <c:v>Edgewell Banana Boat Dry Balance Sunscreen Adults Sport Spray Liquido 50 220Ml</c:v>
                </c:pt>
                <c:pt idx="2">
                  <c:v>Edgewell Hawaiian Tropic Ozono Sunscreen Adults Cosmetics Spray Liquido 50+ 180Ml</c:v>
                </c:pt>
                <c:pt idx="3">
                  <c:v>Edgewell Hawaiian Tropic Tanning Sunscreen Adults Cosmetics Spray Liquido 15 - 19 220Ml</c:v>
                </c:pt>
              </c:strCache>
            </c:strRef>
          </c:cat>
          <c:val>
            <c:numRef>
              <c:f>Sheet1!$B$2:$B$5</c:f>
              <c:numCache>
                <c:formatCode>General</c:formatCode>
                <c:ptCount val="4"/>
                <c:pt idx="0">
                  <c:v>349.0</c:v>
                </c:pt>
                <c:pt idx="1">
                  <c:v>385.0</c:v>
                </c:pt>
                <c:pt idx="2">
                  <c:v>385.0</c:v>
                </c:pt>
                <c:pt idx="3">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99.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pt idx="4">
                  <c:v>Edgewell Hawaiian Tropic Carrot Tanning Adults Cosmetics Crema 10 - 14 240Ml</c:v>
                </c:pt>
                <c:pt idx="5">
                  <c:v>Edgewell Hawaiian Tropic Other Sunscreen Adults Cosmetics Crema 50+ 240Ml</c:v>
                </c:pt>
                <c:pt idx="6">
                  <c:v>Edgewell Hawaiian Tropic Sheer Touch Sunscreen Adults Cosmetics Crema 30 - 49 240Ml</c:v>
                </c:pt>
                <c:pt idx="7">
                  <c:v>Edgewell Hawaiian Tropic Sheer Touch Sunscreen Adults Cosmetics Crema 50 120Ml</c:v>
                </c:pt>
              </c:strCache>
            </c:strRef>
          </c:cat>
          <c:val>
            <c:numRef>
              <c:f>Sheet1!$B$2:$B$9</c:f>
              <c:numCache>
                <c:formatCode>General</c:formatCode>
                <c:ptCount val="8"/>
                <c:pt idx="0">
                  <c:v>305.0</c:v>
                </c:pt>
                <c:pt idx="1">
                  <c:v>305.0</c:v>
                </c:pt>
                <c:pt idx="2">
                  <c:v>335.0</c:v>
                </c:pt>
                <c:pt idx="3">
                  <c:v>305.0</c:v>
                </c:pt>
                <c:pt idx="4">
                  <c:v>299.0</c:v>
                </c:pt>
                <c:pt idx="5">
                  <c:v>350.0</c:v>
                </c:pt>
                <c:pt idx="6">
                  <c:v>299.0</c:v>
                </c:pt>
                <c:pt idx="7">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105.0</a:t>
                    </a:r>
                  </a:p>
                </c:rich>
              </c:tx>
              <c:showLegendKey val="0"/>
              <c:showVal val="1"/>
              <c:showCatName val="0"/>
              <c:showSerName val="0"/>
              <c:showPercent val="0"/>
              <c:showBubbleSize val="0"/>
            </c:dLbl>
            <c:dLbl>
              <c:idx val="5"/>
              <c:tx>
                <c:rich>
                  <a:bodyPr/>
                  <a:lstStyle/>
                  <a:p>
                    <a:r>
                      <a:t>205.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350.0</a:t>
                    </a:r>
                  </a:p>
                </c:rich>
              </c:tx>
              <c:showLegendKey val="0"/>
              <c:showVal val="1"/>
              <c:showCatName val="0"/>
              <c:showSerName val="0"/>
              <c:showPercent val="0"/>
              <c:showBubbleSize val="0"/>
            </c:dLbl>
            <c:dLbl>
              <c:idx val="8"/>
              <c:tx>
                <c:rich>
                  <a:bodyPr/>
                  <a:lstStyle/>
                  <a:p>
                    <a:r>
                      <a:t>12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dvanced Protection Sunscreen Adults Cosmetics Liquido 50+ 24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pt idx="4">
                  <c:v>Edgewell Hawaiian Tropic Island Sport Sunscreen Adults Sport Liquido 50 60Ml</c:v>
                </c:pt>
                <c:pt idx="5">
                  <c:v>Edgewell Hawaiian Tropic Ozono Sunscreen Adults Cosmetics Liquido 50+ 120Ml</c:v>
                </c:pt>
                <c:pt idx="6">
                  <c:v>Edgewell Hawaiian Tropic Ozono Sunscreen Adults Cosmetics Liquido 50+ 180Ml</c:v>
                </c:pt>
                <c:pt idx="7">
                  <c:v>Edgewell Hawaiian Tropic Ozono Sunscreen Adults Cosmetics Liquido 50+ 240Ml</c:v>
                </c:pt>
                <c:pt idx="8">
                  <c:v>Edgewell Hawaiian Tropic Ozono Sunscreen Adults Cosmetics Liquido 50+ 90Ml</c:v>
                </c:pt>
                <c:pt idx="9">
                  <c:v>Edgewell Hawaiian Tropic Sheer Touch Sunscreen Adults Cosmetics Liquido 30 - 49 60Ml</c:v>
                </c:pt>
              </c:strCache>
            </c:strRef>
          </c:cat>
          <c:val>
            <c:numRef>
              <c:f>Sheet1!$B$2:$B$11</c:f>
              <c:numCache>
                <c:formatCode>General</c:formatCode>
                <c:ptCount val="10"/>
                <c:pt idx="0">
                  <c:v>310.0</c:v>
                </c:pt>
                <c:pt idx="1">
                  <c:v>179.0</c:v>
                </c:pt>
                <c:pt idx="2">
                  <c:v>179.0</c:v>
                </c:pt>
                <c:pt idx="3">
                  <c:v>179.0</c:v>
                </c:pt>
                <c:pt idx="4">
                  <c:v>105.0</c:v>
                </c:pt>
                <c:pt idx="5">
                  <c:v>205.0</c:v>
                </c:pt>
                <c:pt idx="6">
                  <c:v>350.0</c:v>
                </c:pt>
                <c:pt idx="7">
                  <c:v>350.0</c:v>
                </c:pt>
                <c:pt idx="8">
                  <c:v>125.0</c:v>
                </c:pt>
                <c:pt idx="9">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Spray Liquido 50+ 170Ml</c:v>
                </c:pt>
                <c:pt idx="1">
                  <c:v>Edgewell Banana Boat Dry Balance Sunscreen Adults Sport Spray Liquido 50 220Ml</c:v>
                </c:pt>
                <c:pt idx="2">
                  <c:v>Edgewell Hawaiian Tropic Ozono Sunscreen Adults Cosmetics Spray Liquido 50+ 180Ml</c:v>
                </c:pt>
                <c:pt idx="3">
                  <c:v>Edgewell Hawaiian Tropic Tanning Sunscreen Adults Cosmetics Spray Liquido 15 - 19 220Ml</c:v>
                </c:pt>
              </c:strCache>
            </c:strRef>
          </c:cat>
          <c:val>
            <c:numRef>
              <c:f>Sheet1!$B$2:$B$5</c:f>
              <c:numCache>
                <c:formatCode>General</c:formatCode>
                <c:ptCount val="4"/>
                <c:pt idx="0">
                  <c:v>349.0</c:v>
                </c:pt>
                <c:pt idx="1">
                  <c:v>385.0</c:v>
                </c:pt>
                <c:pt idx="2">
                  <c:v>385.0</c:v>
                </c:pt>
                <c:pt idx="3">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99.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pt idx="4">
                  <c:v>Edgewell Hawaiian Tropic Carrot Tanning Adults Cosmetics Crema 10 - 14 240Ml</c:v>
                </c:pt>
                <c:pt idx="5">
                  <c:v>Edgewell Hawaiian Tropic Other Sunscreen Adults Cosmetics Crema 50+ 240Ml</c:v>
                </c:pt>
                <c:pt idx="6">
                  <c:v>Edgewell Hawaiian Tropic Sheer Touch Sunscreen Adults Cosmetics Crema 30 - 49 240Ml</c:v>
                </c:pt>
                <c:pt idx="7">
                  <c:v>Edgewell Hawaiian Tropic Sheer Touch Sunscreen Adults Cosmetics Crema 50 120Ml</c:v>
                </c:pt>
              </c:strCache>
            </c:strRef>
          </c:cat>
          <c:val>
            <c:numRef>
              <c:f>Sheet1!$B$2:$B$9</c:f>
              <c:numCache>
                <c:formatCode>General</c:formatCode>
                <c:ptCount val="8"/>
                <c:pt idx="0">
                  <c:v>305.0</c:v>
                </c:pt>
                <c:pt idx="1">
                  <c:v>305.0</c:v>
                </c:pt>
                <c:pt idx="2">
                  <c:v>335.0</c:v>
                </c:pt>
                <c:pt idx="3">
                  <c:v>305.0</c:v>
                </c:pt>
                <c:pt idx="4">
                  <c:v>299.0</c:v>
                </c:pt>
                <c:pt idx="5">
                  <c:v>350.0</c:v>
                </c:pt>
                <c:pt idx="6">
                  <c:v>299.0</c:v>
                </c:pt>
                <c:pt idx="7">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Spray Liquido 50+ 170Ml</c:v>
                </c:pt>
                <c:pt idx="1">
                  <c:v>Edgewell Banana Boat Dry Balance Sunscreen Adults Sport Spray Liquido 50 220Ml</c:v>
                </c:pt>
                <c:pt idx="2">
                  <c:v>Edgewell Hawaiian Tropic Ozono Sunscreen Adults Cosmetics Spray Liquido 50+ 180Ml</c:v>
                </c:pt>
                <c:pt idx="3">
                  <c:v>Edgewell Hawaiian Tropic Tanning Sunscreen Adults Cosmetics Spray Liquido 15 - 19 220Ml</c:v>
                </c:pt>
              </c:strCache>
            </c:strRef>
          </c:cat>
          <c:val>
            <c:numRef>
              <c:f>Sheet1!$B$2:$B$5</c:f>
              <c:numCache>
                <c:formatCode>General</c:formatCode>
                <c:ptCount val="4"/>
                <c:pt idx="0">
                  <c:v>349.0</c:v>
                </c:pt>
                <c:pt idx="1">
                  <c:v>385.0</c:v>
                </c:pt>
                <c:pt idx="2">
                  <c:v>385.0</c:v>
                </c:pt>
                <c:pt idx="3">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99.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pt idx="4">
                  <c:v>Edgewell Hawaiian Tropic Carrot Tanning Adults Cosmetics Crema 10 - 14 240Ml</c:v>
                </c:pt>
                <c:pt idx="5">
                  <c:v>Edgewell Hawaiian Tropic Other Sunscreen Adults Cosmetics Crema 50+ 240Ml</c:v>
                </c:pt>
                <c:pt idx="6">
                  <c:v>Edgewell Hawaiian Tropic Sheer Touch Sunscreen Adults Cosmetics Crema 30 - 49 240Ml</c:v>
                </c:pt>
                <c:pt idx="7">
                  <c:v>Edgewell Hawaiian Tropic Sheer Touch Sunscreen Adults Cosmetics Crema 50 120Ml</c:v>
                </c:pt>
              </c:strCache>
            </c:strRef>
          </c:cat>
          <c:val>
            <c:numRef>
              <c:f>Sheet1!$B$2:$B$9</c:f>
              <c:numCache>
                <c:formatCode>General</c:formatCode>
                <c:ptCount val="8"/>
                <c:pt idx="0">
                  <c:v>305.0</c:v>
                </c:pt>
                <c:pt idx="1">
                  <c:v>305.0</c:v>
                </c:pt>
                <c:pt idx="2">
                  <c:v>335.0</c:v>
                </c:pt>
                <c:pt idx="3">
                  <c:v>305.0</c:v>
                </c:pt>
                <c:pt idx="4">
                  <c:v>299.0</c:v>
                </c:pt>
                <c:pt idx="5">
                  <c:v>350.0</c:v>
                </c:pt>
                <c:pt idx="6">
                  <c:v>299.0</c:v>
                </c:pt>
                <c:pt idx="7">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qua Protect Sunscreen Adults Cosmetics Spray Liquido 50+ 170Ml</c:v>
                </c:pt>
                <c:pt idx="1">
                  <c:v>Edgewell Banana Boat Dry Balance Sunscreen Adults Sport Spray Liquido 50 220Ml</c:v>
                </c:pt>
                <c:pt idx="2">
                  <c:v>Edgewell Hawaiian Tropic Ozono Sunscreen Adults Cosmetics Spray Liquido 50+ 180Ml</c:v>
                </c:pt>
              </c:strCache>
            </c:strRef>
          </c:cat>
          <c:val>
            <c:numRef>
              <c:f>Sheet1!$B$2:$B$4</c:f>
              <c:numCache>
                <c:formatCode>General</c:formatCode>
                <c:ptCount val="3"/>
                <c:pt idx="0">
                  <c:v>349.0</c:v>
                </c:pt>
                <c:pt idx="1">
                  <c:v>385.0</c:v>
                </c:pt>
                <c:pt idx="2">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99.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pt idx="4">
                  <c:v>Edgewell Hawaiian Tropic Carrot Tanning Adults Cosmetics Crema 10 - 14 240Ml</c:v>
                </c:pt>
                <c:pt idx="5">
                  <c:v>Edgewell Hawaiian Tropic Other Sunscreen Adults Cosmetics Crema 50+ 240Ml</c:v>
                </c:pt>
                <c:pt idx="6">
                  <c:v>Edgewell Hawaiian Tropic Sheer Touch Sunscreen Adults Cosmetics Crema 30 - 49 240Ml</c:v>
                </c:pt>
                <c:pt idx="7">
                  <c:v>Edgewell Hawaiian Tropic Sheer Touch Sunscreen Adults Cosmetics Crema 50 120Ml</c:v>
                </c:pt>
              </c:strCache>
            </c:strRef>
          </c:cat>
          <c:val>
            <c:numRef>
              <c:f>Sheet1!$B$2:$B$9</c:f>
              <c:numCache>
                <c:formatCode>General</c:formatCode>
                <c:ptCount val="8"/>
                <c:pt idx="0">
                  <c:v>305.0</c:v>
                </c:pt>
                <c:pt idx="1">
                  <c:v>305.0</c:v>
                </c:pt>
                <c:pt idx="2">
                  <c:v>335.0</c:v>
                </c:pt>
                <c:pt idx="3">
                  <c:v>305.0</c:v>
                </c:pt>
                <c:pt idx="4">
                  <c:v>299.0</c:v>
                </c:pt>
                <c:pt idx="5">
                  <c:v>350.0</c:v>
                </c:pt>
                <c:pt idx="6">
                  <c:v>299.0</c:v>
                </c:pt>
                <c:pt idx="7">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240.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179.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dLbl>
              <c:idx val="6"/>
              <c:tx>
                <c:rich>
                  <a:bodyPr/>
                  <a:lstStyle/>
                  <a:p>
                    <a:r>
                      <a:t>205.0</a:t>
                    </a:r>
                  </a:p>
                </c:rich>
              </c:tx>
              <c:showLegendKey val="0"/>
              <c:showVal val="1"/>
              <c:showCatName val="0"/>
              <c:showSerName val="0"/>
              <c:showPercent val="0"/>
              <c:showBubbleSize val="0"/>
            </c:dLbl>
            <c:dLbl>
              <c:idx val="7"/>
              <c:tx>
                <c:rich>
                  <a:bodyPr/>
                  <a:lstStyle/>
                  <a:p>
                    <a:r>
                      <a:t>350.0</a:t>
                    </a:r>
                  </a:p>
                </c:rich>
              </c:tx>
              <c:showLegendKey val="0"/>
              <c:showVal val="1"/>
              <c:showCatName val="0"/>
              <c:showSerName val="0"/>
              <c:showPercent val="0"/>
              <c:showBubbleSize val="0"/>
            </c:dLbl>
            <c:dLbl>
              <c:idx val="8"/>
              <c:tx>
                <c:rich>
                  <a:bodyPr/>
                  <a:lstStyle/>
                  <a:p>
                    <a:r>
                      <a:t>350.0</a:t>
                    </a:r>
                  </a:p>
                </c:rich>
              </c:tx>
              <c:showLegendKey val="0"/>
              <c:showVal val="1"/>
              <c:showCatName val="0"/>
              <c:showSerName val="0"/>
              <c:showPercent val="0"/>
              <c:showBubbleSize val="0"/>
            </c:dLbl>
            <c:dLbl>
              <c:idx val="9"/>
              <c:tx>
                <c:rich>
                  <a:bodyPr/>
                  <a:lstStyle/>
                  <a:p>
                    <a:r>
                      <a:t>125.0</a:t>
                    </a:r>
                  </a:p>
                </c:rich>
              </c:tx>
              <c:showLegendKey val="0"/>
              <c:showVal val="1"/>
              <c:showCatName val="0"/>
              <c:showSerName val="0"/>
              <c:showPercent val="0"/>
              <c:showBubbleSize val="0"/>
            </c:dLbl>
            <c:dLbl>
              <c:idx val="1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anana Boat Advanced Protection Sunscreen Adults Cosmetics Liquido 50+ 240Ml</c:v>
                </c:pt>
                <c:pt idx="1">
                  <c:v>Edgewell Beauty Care Antioxidant Sunscreen Adults Cosmetics Liquido 15 - 19 100Ml</c:v>
                </c:pt>
                <c:pt idx="2">
                  <c:v>Edgewell Beauty Care Antioxidant Sunscreen Adults Cosmetics Liquido 50+ 50Ml</c:v>
                </c:pt>
                <c:pt idx="3">
                  <c:v>Edgewell Beauty Care Matte Sunscreen Adults Cosmetics Liquido 30 50Ml</c:v>
                </c:pt>
                <c:pt idx="4">
                  <c:v>Edgewell Beauty Care Sensitive Sunscreen Adults Cosmetics Liquido 50+ 50Ml</c:v>
                </c:pt>
                <c:pt idx="5">
                  <c:v>Edgewell Hawaiian Tropic Island Sport Sunscreen Adults Sport Liquido 50 60Ml</c:v>
                </c:pt>
                <c:pt idx="6">
                  <c:v>Edgewell Hawaiian Tropic Ozono Sunscreen Adults Cosmetics Liquido 50+ 120Ml</c:v>
                </c:pt>
                <c:pt idx="7">
                  <c:v>Edgewell Hawaiian Tropic Ozono Sunscreen Adults Cosmetics Liquido 50+ 180Ml</c:v>
                </c:pt>
                <c:pt idx="8">
                  <c:v>Edgewell Hawaiian Tropic Ozono Sunscreen Adults Cosmetics Liquido 50+ 240Ml</c:v>
                </c:pt>
                <c:pt idx="9">
                  <c:v>Edgewell Hawaiian Tropic Ozono Sunscreen Adults Cosmetics Liquido 50+ 90Ml</c:v>
                </c:pt>
                <c:pt idx="10">
                  <c:v>Edgewell Hawaiian Tropic Sheer Touch Sunscreen Adults Cosmetics Liquido 30 - 49 60Ml</c:v>
                </c:pt>
              </c:strCache>
            </c:strRef>
          </c:cat>
          <c:val>
            <c:numRef>
              <c:f>Sheet1!$B$2:$B$12</c:f>
              <c:numCache>
                <c:formatCode>General</c:formatCode>
                <c:ptCount val="11"/>
                <c:pt idx="0">
                  <c:v>310.0</c:v>
                </c:pt>
                <c:pt idx="1">
                  <c:v>240.0</c:v>
                </c:pt>
                <c:pt idx="2">
                  <c:v>179.0</c:v>
                </c:pt>
                <c:pt idx="3">
                  <c:v>179.0</c:v>
                </c:pt>
                <c:pt idx="4">
                  <c:v>179.0</c:v>
                </c:pt>
                <c:pt idx="5">
                  <c:v>105.0</c:v>
                </c:pt>
                <c:pt idx="6">
                  <c:v>205.0</c:v>
                </c:pt>
                <c:pt idx="7">
                  <c:v>350.0</c:v>
                </c:pt>
                <c:pt idx="8">
                  <c:v>350.0</c:v>
                </c:pt>
                <c:pt idx="9">
                  <c:v>125.0</c:v>
                </c:pt>
                <c:pt idx="1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Spray Liquido 50+ 170Ml</c:v>
                </c:pt>
                <c:pt idx="1">
                  <c:v>Edgewell Banana Boat Dry Balance Sunscreen Adults Sport Spray Liquido 50 220Ml</c:v>
                </c:pt>
                <c:pt idx="2">
                  <c:v>Edgewell Hawaiian Tropic Ozono Sunscreen Adults Cosmetics Spray Liquido 50+ 180Ml</c:v>
                </c:pt>
                <c:pt idx="3">
                  <c:v>Edgewell Hawaiian Tropic Tanning Sunscreen Adults Cosmetics Spray Liquido 15 - 19 220Ml</c:v>
                </c:pt>
              </c:strCache>
            </c:strRef>
          </c:cat>
          <c:val>
            <c:numRef>
              <c:f>Sheet1!$B$2:$B$5</c:f>
              <c:numCache>
                <c:formatCode>General</c:formatCode>
                <c:ptCount val="4"/>
                <c:pt idx="0">
                  <c:v>349.0</c:v>
                </c:pt>
                <c:pt idx="1">
                  <c:v>385.0</c:v>
                </c:pt>
                <c:pt idx="2">
                  <c:v>385.0</c:v>
                </c:pt>
                <c:pt idx="3">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240.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179.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dLbl>
              <c:idx val="6"/>
              <c:tx>
                <c:rich>
                  <a:bodyPr/>
                  <a:lstStyle/>
                  <a:p>
                    <a:r>
                      <a:t>205.0</a:t>
                    </a:r>
                  </a:p>
                </c:rich>
              </c:tx>
              <c:showLegendKey val="0"/>
              <c:showVal val="1"/>
              <c:showCatName val="0"/>
              <c:showSerName val="0"/>
              <c:showPercent val="0"/>
              <c:showBubbleSize val="0"/>
            </c:dLbl>
            <c:dLbl>
              <c:idx val="7"/>
              <c:tx>
                <c:rich>
                  <a:bodyPr/>
                  <a:lstStyle/>
                  <a:p>
                    <a:r>
                      <a:t>350.0</a:t>
                    </a:r>
                  </a:p>
                </c:rich>
              </c:tx>
              <c:showLegendKey val="0"/>
              <c:showVal val="1"/>
              <c:showCatName val="0"/>
              <c:showSerName val="0"/>
              <c:showPercent val="0"/>
              <c:showBubbleSize val="0"/>
            </c:dLbl>
            <c:dLbl>
              <c:idx val="8"/>
              <c:tx>
                <c:rich>
                  <a:bodyPr/>
                  <a:lstStyle/>
                  <a:p>
                    <a:r>
                      <a:t>350.0</a:t>
                    </a:r>
                  </a:p>
                </c:rich>
              </c:tx>
              <c:showLegendKey val="0"/>
              <c:showVal val="1"/>
              <c:showCatName val="0"/>
              <c:showSerName val="0"/>
              <c:showPercent val="0"/>
              <c:showBubbleSize val="0"/>
            </c:dLbl>
            <c:dLbl>
              <c:idx val="9"/>
              <c:tx>
                <c:rich>
                  <a:bodyPr/>
                  <a:lstStyle/>
                  <a:p>
                    <a:r>
                      <a:t>125.0</a:t>
                    </a:r>
                  </a:p>
                </c:rich>
              </c:tx>
              <c:showLegendKey val="0"/>
              <c:showVal val="1"/>
              <c:showCatName val="0"/>
              <c:showSerName val="0"/>
              <c:showPercent val="0"/>
              <c:showBubbleSize val="0"/>
            </c:dLbl>
            <c:dLbl>
              <c:idx val="1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anana Boat Advanced Protection Sunscreen Adults Cosmetics Liquido 50+ 240Ml</c:v>
                </c:pt>
                <c:pt idx="1">
                  <c:v>Edgewell Beauty Care Antioxidant Sunscreen Adults Cosmetics Liquido 15 - 19 100Ml</c:v>
                </c:pt>
                <c:pt idx="2">
                  <c:v>Edgewell Beauty Care Antioxidant Sunscreen Adults Cosmetics Liquido 50+ 50Ml</c:v>
                </c:pt>
                <c:pt idx="3">
                  <c:v>Edgewell Beauty Care Matte Sunscreen Adults Cosmetics Liquido 30 50Ml</c:v>
                </c:pt>
                <c:pt idx="4">
                  <c:v>Edgewell Beauty Care Sensitive Sunscreen Adults Cosmetics Liquido 50+ 50Ml</c:v>
                </c:pt>
                <c:pt idx="5">
                  <c:v>Edgewell Hawaiian Tropic Island Sport Sunscreen Adults Sport Liquido 50 60Ml</c:v>
                </c:pt>
                <c:pt idx="6">
                  <c:v>Edgewell Hawaiian Tropic Ozono Sunscreen Adults Cosmetics Liquido 50+ 120Ml</c:v>
                </c:pt>
                <c:pt idx="7">
                  <c:v>Edgewell Hawaiian Tropic Ozono Sunscreen Adults Cosmetics Liquido 50+ 180Ml</c:v>
                </c:pt>
                <c:pt idx="8">
                  <c:v>Edgewell Hawaiian Tropic Ozono Sunscreen Adults Cosmetics Liquido 50+ 240Ml</c:v>
                </c:pt>
                <c:pt idx="9">
                  <c:v>Edgewell Hawaiian Tropic Ozono Sunscreen Adults Cosmetics Liquido 50+ 90Ml</c:v>
                </c:pt>
                <c:pt idx="10">
                  <c:v>Edgewell Hawaiian Tropic Sheer Touch Sunscreen Adults Cosmetics Liquido 30 - 49 60Ml</c:v>
                </c:pt>
              </c:strCache>
            </c:strRef>
          </c:cat>
          <c:val>
            <c:numRef>
              <c:f>Sheet1!$B$2:$B$12</c:f>
              <c:numCache>
                <c:formatCode>General</c:formatCode>
                <c:ptCount val="11"/>
                <c:pt idx="0">
                  <c:v>310.0</c:v>
                </c:pt>
                <c:pt idx="1">
                  <c:v>240.0</c:v>
                </c:pt>
                <c:pt idx="2">
                  <c:v>179.0</c:v>
                </c:pt>
                <c:pt idx="3">
                  <c:v>179.0</c:v>
                </c:pt>
                <c:pt idx="4">
                  <c:v>179.0</c:v>
                </c:pt>
                <c:pt idx="5">
                  <c:v>105.0</c:v>
                </c:pt>
                <c:pt idx="6">
                  <c:v>205.0</c:v>
                </c:pt>
                <c:pt idx="7">
                  <c:v>350.0</c:v>
                </c:pt>
                <c:pt idx="8">
                  <c:v>350.0</c:v>
                </c:pt>
                <c:pt idx="9">
                  <c:v>125.0</c:v>
                </c:pt>
                <c:pt idx="1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Spray Liquido 50+ 170Ml</c:v>
                </c:pt>
                <c:pt idx="1">
                  <c:v>Edgewell Banana Boat Dry Balance Sunscreen Adults Sport Spray Liquido 50 220Ml</c:v>
                </c:pt>
                <c:pt idx="2">
                  <c:v>Edgewell Hawaiian Tropic Ozono Sunscreen Adults Cosmetics Spray Liquido 50+ 180Ml</c:v>
                </c:pt>
                <c:pt idx="3">
                  <c:v>Edgewell Hawaiian Tropic Tanning Sunscreen Adults Cosmetics Spray Liquido 15 - 19 220Ml</c:v>
                </c:pt>
              </c:strCache>
            </c:strRef>
          </c:cat>
          <c:val>
            <c:numRef>
              <c:f>Sheet1!$B$2:$B$5</c:f>
              <c:numCache>
                <c:formatCode>General</c:formatCode>
                <c:ptCount val="4"/>
                <c:pt idx="0">
                  <c:v>349.0</c:v>
                </c:pt>
                <c:pt idx="1">
                  <c:v>385.0</c:v>
                </c:pt>
                <c:pt idx="2">
                  <c:v>385.0</c:v>
                </c:pt>
                <c:pt idx="3">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240.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179.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dLbl>
              <c:idx val="6"/>
              <c:tx>
                <c:rich>
                  <a:bodyPr/>
                  <a:lstStyle/>
                  <a:p>
                    <a:r>
                      <a:t>205.0</a:t>
                    </a:r>
                  </a:p>
                </c:rich>
              </c:tx>
              <c:showLegendKey val="0"/>
              <c:showVal val="1"/>
              <c:showCatName val="0"/>
              <c:showSerName val="0"/>
              <c:showPercent val="0"/>
              <c:showBubbleSize val="0"/>
            </c:dLbl>
            <c:dLbl>
              <c:idx val="7"/>
              <c:tx>
                <c:rich>
                  <a:bodyPr/>
                  <a:lstStyle/>
                  <a:p>
                    <a:r>
                      <a:t>350.0</a:t>
                    </a:r>
                  </a:p>
                </c:rich>
              </c:tx>
              <c:showLegendKey val="0"/>
              <c:showVal val="1"/>
              <c:showCatName val="0"/>
              <c:showSerName val="0"/>
              <c:showPercent val="0"/>
              <c:showBubbleSize val="0"/>
            </c:dLbl>
            <c:dLbl>
              <c:idx val="8"/>
              <c:tx>
                <c:rich>
                  <a:bodyPr/>
                  <a:lstStyle/>
                  <a:p>
                    <a:r>
                      <a:t>350.0</a:t>
                    </a:r>
                  </a:p>
                </c:rich>
              </c:tx>
              <c:showLegendKey val="0"/>
              <c:showVal val="1"/>
              <c:showCatName val="0"/>
              <c:showSerName val="0"/>
              <c:showPercent val="0"/>
              <c:showBubbleSize val="0"/>
            </c:dLbl>
            <c:dLbl>
              <c:idx val="9"/>
              <c:tx>
                <c:rich>
                  <a:bodyPr/>
                  <a:lstStyle/>
                  <a:p>
                    <a:r>
                      <a:t>125.0</a:t>
                    </a:r>
                  </a:p>
                </c:rich>
              </c:tx>
              <c:showLegendKey val="0"/>
              <c:showVal val="1"/>
              <c:showCatName val="0"/>
              <c:showSerName val="0"/>
              <c:showPercent val="0"/>
              <c:showBubbleSize val="0"/>
            </c:dLbl>
            <c:dLbl>
              <c:idx val="1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anana Boat Advanced Protection Sunscreen Adults Cosmetics Liquido 50+ 240Ml</c:v>
                </c:pt>
                <c:pt idx="1">
                  <c:v>Edgewell Beauty Care Antioxidant Sunscreen Adults Cosmetics Liquido 15 - 19 100Ml</c:v>
                </c:pt>
                <c:pt idx="2">
                  <c:v>Edgewell Beauty Care Antioxidant Sunscreen Adults Cosmetics Liquido 50+ 50Ml</c:v>
                </c:pt>
                <c:pt idx="3">
                  <c:v>Edgewell Beauty Care Matte Sunscreen Adults Cosmetics Liquido 30 50Ml</c:v>
                </c:pt>
                <c:pt idx="4">
                  <c:v>Edgewell Beauty Care Sensitive Sunscreen Adults Cosmetics Liquido 50+ 50Ml</c:v>
                </c:pt>
                <c:pt idx="5">
                  <c:v>Edgewell Hawaiian Tropic Island Sport Sunscreen Adults Sport Liquido 50 60Ml</c:v>
                </c:pt>
                <c:pt idx="6">
                  <c:v>Edgewell Hawaiian Tropic Ozono Sunscreen Adults Cosmetics Liquido 50+ 120Ml</c:v>
                </c:pt>
                <c:pt idx="7">
                  <c:v>Edgewell Hawaiian Tropic Ozono Sunscreen Adults Cosmetics Liquido 50+ 180Ml</c:v>
                </c:pt>
                <c:pt idx="8">
                  <c:v>Edgewell Hawaiian Tropic Ozono Sunscreen Adults Cosmetics Liquido 50+ 240Ml</c:v>
                </c:pt>
                <c:pt idx="9">
                  <c:v>Edgewell Hawaiian Tropic Ozono Sunscreen Adults Cosmetics Liquido 50+ 90Ml</c:v>
                </c:pt>
                <c:pt idx="10">
                  <c:v>Edgewell Hawaiian Tropic Sheer Touch Sunscreen Adults Cosmetics Liquido 30 - 49 60Ml</c:v>
                </c:pt>
              </c:strCache>
            </c:strRef>
          </c:cat>
          <c:val>
            <c:numRef>
              <c:f>Sheet1!$B$2:$B$12</c:f>
              <c:numCache>
                <c:formatCode>General</c:formatCode>
                <c:ptCount val="11"/>
                <c:pt idx="0">
                  <c:v>310.0</c:v>
                </c:pt>
                <c:pt idx="1">
                  <c:v>240.0</c:v>
                </c:pt>
                <c:pt idx="2">
                  <c:v>179.0</c:v>
                </c:pt>
                <c:pt idx="3">
                  <c:v>179.0</c:v>
                </c:pt>
                <c:pt idx="4">
                  <c:v>179.0</c:v>
                </c:pt>
                <c:pt idx="5">
                  <c:v>105.0</c:v>
                </c:pt>
                <c:pt idx="6">
                  <c:v>205.0</c:v>
                </c:pt>
                <c:pt idx="7">
                  <c:v>350.0</c:v>
                </c:pt>
                <c:pt idx="8">
                  <c:v>350.0</c:v>
                </c:pt>
                <c:pt idx="9">
                  <c:v>125.0</c:v>
                </c:pt>
                <c:pt idx="1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Spray Liquido 50+ 170Ml</c:v>
                </c:pt>
                <c:pt idx="1">
                  <c:v>Edgewell Banana Boat Dry Balance Sunscreen Adults Sport Spray Liquido 50 220Ml</c:v>
                </c:pt>
                <c:pt idx="2">
                  <c:v>Edgewell Hawaiian Tropic Ozono Sunscreen Adults Cosmetics Spray Liquido 50+ 180Ml</c:v>
                </c:pt>
                <c:pt idx="3">
                  <c:v>Edgewell Hawaiian Tropic Tanning Sunscreen Adults Cosmetics Spray Liquido 15 - 19 220Ml</c:v>
                </c:pt>
              </c:strCache>
            </c:strRef>
          </c:cat>
          <c:val>
            <c:numRef>
              <c:f>Sheet1!$B$2:$B$5</c:f>
              <c:numCache>
                <c:formatCode>General</c:formatCode>
                <c:ptCount val="4"/>
                <c:pt idx="0">
                  <c:v>349.0</c:v>
                </c:pt>
                <c:pt idx="1">
                  <c:v>385.0</c:v>
                </c:pt>
                <c:pt idx="2">
                  <c:v>385.0</c:v>
                </c:pt>
                <c:pt idx="3">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99.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pt idx="4">
                  <c:v>Edgewell Hawaiian Tropic Carrot Tanning Adults Cosmetics Crema 10 - 14 240Ml</c:v>
                </c:pt>
                <c:pt idx="5">
                  <c:v>Edgewell Hawaiian Tropic Other Sunscreen Adults Cosmetics Crema 50+ 240Ml</c:v>
                </c:pt>
                <c:pt idx="6">
                  <c:v>Edgewell Hawaiian Tropic Sheer Touch Sunscreen Adults Cosmetics Crema 30 - 49 240Ml</c:v>
                </c:pt>
                <c:pt idx="7">
                  <c:v>Edgewell Hawaiian Tropic Sheer Touch Sunscreen Adults Cosmetics Crema 50 120Ml</c:v>
                </c:pt>
              </c:strCache>
            </c:strRef>
          </c:cat>
          <c:val>
            <c:numRef>
              <c:f>Sheet1!$B$2:$B$9</c:f>
              <c:numCache>
                <c:formatCode>General</c:formatCode>
                <c:ptCount val="8"/>
                <c:pt idx="0">
                  <c:v>305.0</c:v>
                </c:pt>
                <c:pt idx="1">
                  <c:v>305.0</c:v>
                </c:pt>
                <c:pt idx="2">
                  <c:v>335.0</c:v>
                </c:pt>
                <c:pt idx="3">
                  <c:v>305.0</c:v>
                </c:pt>
                <c:pt idx="4">
                  <c:v>299.0</c:v>
                </c:pt>
                <c:pt idx="5">
                  <c:v>350.0</c:v>
                </c:pt>
                <c:pt idx="6">
                  <c:v>299.0</c:v>
                </c:pt>
                <c:pt idx="7">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240.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179.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dLbl>
              <c:idx val="6"/>
              <c:tx>
                <c:rich>
                  <a:bodyPr/>
                  <a:lstStyle/>
                  <a:p>
                    <a:r>
                      <a:t>205.0</a:t>
                    </a:r>
                  </a:p>
                </c:rich>
              </c:tx>
              <c:showLegendKey val="0"/>
              <c:showVal val="1"/>
              <c:showCatName val="0"/>
              <c:showSerName val="0"/>
              <c:showPercent val="0"/>
              <c:showBubbleSize val="0"/>
            </c:dLbl>
            <c:dLbl>
              <c:idx val="7"/>
              <c:tx>
                <c:rich>
                  <a:bodyPr/>
                  <a:lstStyle/>
                  <a:p>
                    <a:r>
                      <a:t>350.0</a:t>
                    </a:r>
                  </a:p>
                </c:rich>
              </c:tx>
              <c:showLegendKey val="0"/>
              <c:showVal val="1"/>
              <c:showCatName val="0"/>
              <c:showSerName val="0"/>
              <c:showPercent val="0"/>
              <c:showBubbleSize val="0"/>
            </c:dLbl>
            <c:dLbl>
              <c:idx val="8"/>
              <c:tx>
                <c:rich>
                  <a:bodyPr/>
                  <a:lstStyle/>
                  <a:p>
                    <a:r>
                      <a:t>350.0</a:t>
                    </a:r>
                  </a:p>
                </c:rich>
              </c:tx>
              <c:showLegendKey val="0"/>
              <c:showVal val="1"/>
              <c:showCatName val="0"/>
              <c:showSerName val="0"/>
              <c:showPercent val="0"/>
              <c:showBubbleSize val="0"/>
            </c:dLbl>
            <c:dLbl>
              <c:idx val="9"/>
              <c:tx>
                <c:rich>
                  <a:bodyPr/>
                  <a:lstStyle/>
                  <a:p>
                    <a:r>
                      <a:t>125.0</a:t>
                    </a:r>
                  </a:p>
                </c:rich>
              </c:tx>
              <c:showLegendKey val="0"/>
              <c:showVal val="1"/>
              <c:showCatName val="0"/>
              <c:showSerName val="0"/>
              <c:showPercent val="0"/>
              <c:showBubbleSize val="0"/>
            </c:dLbl>
            <c:dLbl>
              <c:idx val="1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anana Boat Advanced Protection Sunscreen Adults Cosmetics Liquido 50+ 240Ml</c:v>
                </c:pt>
                <c:pt idx="1">
                  <c:v>Edgewell Beauty Care Antioxidant Sunscreen Adults Cosmetics Liquido 15 - 19 100Ml</c:v>
                </c:pt>
                <c:pt idx="2">
                  <c:v>Edgewell Beauty Care Antioxidant Sunscreen Adults Cosmetics Liquido 50+ 50Ml</c:v>
                </c:pt>
                <c:pt idx="3">
                  <c:v>Edgewell Beauty Care Matte Sunscreen Adults Cosmetics Liquido 30 50Ml</c:v>
                </c:pt>
                <c:pt idx="4">
                  <c:v>Edgewell Beauty Care Sensitive Sunscreen Adults Cosmetics Liquido 50+ 50Ml</c:v>
                </c:pt>
                <c:pt idx="5">
                  <c:v>Edgewell Hawaiian Tropic Island Sport Sunscreen Adults Sport Liquido 50 60Ml</c:v>
                </c:pt>
                <c:pt idx="6">
                  <c:v>Edgewell Hawaiian Tropic Ozono Sunscreen Adults Cosmetics Liquido 50+ 120Ml</c:v>
                </c:pt>
                <c:pt idx="7">
                  <c:v>Edgewell Hawaiian Tropic Ozono Sunscreen Adults Cosmetics Liquido 50+ 180Ml</c:v>
                </c:pt>
                <c:pt idx="8">
                  <c:v>Edgewell Hawaiian Tropic Ozono Sunscreen Adults Cosmetics Liquido 50+ 240Ml</c:v>
                </c:pt>
                <c:pt idx="9">
                  <c:v>Edgewell Hawaiian Tropic Ozono Sunscreen Adults Cosmetics Liquido 50+ 90Ml</c:v>
                </c:pt>
                <c:pt idx="10">
                  <c:v>Edgewell Hawaiian Tropic Sheer Touch Sunscreen Adults Cosmetics Liquido 30 - 49 60Ml</c:v>
                </c:pt>
              </c:strCache>
            </c:strRef>
          </c:cat>
          <c:val>
            <c:numRef>
              <c:f>Sheet1!$B$2:$B$12</c:f>
              <c:numCache>
                <c:formatCode>General</c:formatCode>
                <c:ptCount val="11"/>
                <c:pt idx="0">
                  <c:v>310.0</c:v>
                </c:pt>
                <c:pt idx="1">
                  <c:v>240.0</c:v>
                </c:pt>
                <c:pt idx="2">
                  <c:v>179.0</c:v>
                </c:pt>
                <c:pt idx="3">
                  <c:v>179.0</c:v>
                </c:pt>
                <c:pt idx="4">
                  <c:v>179.0</c:v>
                </c:pt>
                <c:pt idx="5">
                  <c:v>105.0</c:v>
                </c:pt>
                <c:pt idx="6">
                  <c:v>205.0</c:v>
                </c:pt>
                <c:pt idx="7">
                  <c:v>350.0</c:v>
                </c:pt>
                <c:pt idx="8">
                  <c:v>350.0</c:v>
                </c:pt>
                <c:pt idx="9">
                  <c:v>125.0</c:v>
                </c:pt>
                <c:pt idx="1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299.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qua Protect Sunscreen Adults Cosmetics Crema 50+ 236Ml</c:v>
                </c:pt>
                <c:pt idx="1">
                  <c:v>Edgewell Banana Boat Aqua Protect Sunscreen Adults Sport Crema 50+ 236Ml</c:v>
                </c:pt>
                <c:pt idx="2">
                  <c:v>Edgewell Banana Boat Kids Sport Sunscreen Kids Cosmetics Crema 50 180Ml</c:v>
                </c:pt>
                <c:pt idx="3">
                  <c:v>Edgewell Hawaiian Tropic Carrot Tanning Adults Cosmetics Crema 10 - 14 240Ml</c:v>
                </c:pt>
                <c:pt idx="4">
                  <c:v>Edgewell Hawaiian Tropic Other Sunscreen Adults Cosmetics Crema 50+ 240Ml</c:v>
                </c:pt>
                <c:pt idx="5">
                  <c:v>Edgewell Hawaiian Tropic Sheer Touch Sunscreen Adults Cosmetics Crema 50 120Ml</c:v>
                </c:pt>
              </c:strCache>
            </c:strRef>
          </c:cat>
          <c:val>
            <c:numRef>
              <c:f>Sheet1!$B$2:$B$7</c:f>
              <c:numCache>
                <c:formatCode>General</c:formatCode>
                <c:ptCount val="6"/>
                <c:pt idx="0">
                  <c:v>305.0</c:v>
                </c:pt>
                <c:pt idx="1">
                  <c:v>305.0</c:v>
                </c:pt>
                <c:pt idx="2">
                  <c:v>305.0</c:v>
                </c:pt>
                <c:pt idx="3">
                  <c:v>299.0</c:v>
                </c:pt>
                <c:pt idx="4">
                  <c:v>350.0</c:v>
                </c:pt>
                <c:pt idx="5">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240.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179.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350.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Advanced Protection Sunscreen Adults Cosmetics Liquido 50+ 240Ml</c:v>
                </c:pt>
                <c:pt idx="1">
                  <c:v>Edgewell Beauty Care Antioxidant Sunscreen Adults Cosmetics Liquido 15 - 19 100Ml</c:v>
                </c:pt>
                <c:pt idx="2">
                  <c:v>Edgewell Beauty Care Antioxidant Sunscreen Adults Cosmetics Liquido 50+ 50Ml</c:v>
                </c:pt>
                <c:pt idx="3">
                  <c:v>Edgewell Beauty Care Matte Sunscreen Adults Cosmetics Liquido 30 50Ml</c:v>
                </c:pt>
                <c:pt idx="4">
                  <c:v>Edgewell Beauty Care Sensitive Sunscreen Adults Cosmetics Liquido 50+ 50Ml</c:v>
                </c:pt>
                <c:pt idx="5">
                  <c:v>Edgewell Hawaiian Tropic Island Sport Sunscreen Adults Sport Liquido 50 60Ml</c:v>
                </c:pt>
                <c:pt idx="6">
                  <c:v>Edgewell Hawaiian Tropic Ozono Sunscreen Adults Cosmetics Liquido 50+ 180Ml</c:v>
                </c:pt>
                <c:pt idx="7">
                  <c:v>Edgewell Hawaiian Tropic Ozono Sunscreen Adults Cosmetics Liquido 50+ 240Ml</c:v>
                </c:pt>
                <c:pt idx="8">
                  <c:v>Edgewell Hawaiian Tropic Sheer Touch Sunscreen Adults Cosmetics Liquido 30 - 49 60Ml</c:v>
                </c:pt>
              </c:strCache>
            </c:strRef>
          </c:cat>
          <c:val>
            <c:numRef>
              <c:f>Sheet1!$B$2:$B$10</c:f>
              <c:numCache>
                <c:formatCode>General</c:formatCode>
                <c:ptCount val="9"/>
                <c:pt idx="0">
                  <c:v>310.0</c:v>
                </c:pt>
                <c:pt idx="1">
                  <c:v>240.0</c:v>
                </c:pt>
                <c:pt idx="2">
                  <c:v>179.0</c:v>
                </c:pt>
                <c:pt idx="3">
                  <c:v>179.0</c:v>
                </c:pt>
                <c:pt idx="4">
                  <c:v>179.0</c:v>
                </c:pt>
                <c:pt idx="5">
                  <c:v>105.0</c:v>
                </c:pt>
                <c:pt idx="6">
                  <c:v>350.0</c:v>
                </c:pt>
                <c:pt idx="7">
                  <c:v>350.0</c:v>
                </c:pt>
                <c:pt idx="8">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99.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pt idx="4">
                  <c:v>Edgewell Hawaiian Tropic Carrot Tanning Adults Cosmetics Crema 10 - 14 240Ml</c:v>
                </c:pt>
                <c:pt idx="5">
                  <c:v>Edgewell Hawaiian Tropic Other Sunscreen Adults Cosmetics Crema 50+ 240Ml</c:v>
                </c:pt>
                <c:pt idx="6">
                  <c:v>Edgewell Hawaiian Tropic Sheer Touch Sunscreen Adults Cosmetics Crema 30 - 49 240Ml</c:v>
                </c:pt>
                <c:pt idx="7">
                  <c:v>Edgewell Hawaiian Tropic Sheer Touch Sunscreen Adults Cosmetics Crema 50 120Ml</c:v>
                </c:pt>
              </c:strCache>
            </c:strRef>
          </c:cat>
          <c:val>
            <c:numRef>
              <c:f>Sheet1!$B$2:$B$9</c:f>
              <c:numCache>
                <c:formatCode>General</c:formatCode>
                <c:ptCount val="8"/>
                <c:pt idx="0">
                  <c:v>305.0</c:v>
                </c:pt>
                <c:pt idx="1">
                  <c:v>305.0</c:v>
                </c:pt>
                <c:pt idx="2">
                  <c:v>335.0</c:v>
                </c:pt>
                <c:pt idx="3">
                  <c:v>305.0</c:v>
                </c:pt>
                <c:pt idx="4">
                  <c:v>299.0</c:v>
                </c:pt>
                <c:pt idx="5">
                  <c:v>350.0</c:v>
                </c:pt>
                <c:pt idx="6">
                  <c:v>299.0</c:v>
                </c:pt>
                <c:pt idx="7">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240.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179.0</a:t>
                    </a:r>
                  </a:p>
                </c:rich>
              </c:tx>
              <c:showLegendKey val="0"/>
              <c:showVal val="1"/>
              <c:showCatName val="0"/>
              <c:showSerName val="0"/>
              <c:showPercent val="0"/>
              <c:showBubbleSize val="0"/>
            </c:dLbl>
            <c:dLbl>
              <c:idx val="5"/>
              <c:tx>
                <c:rich>
                  <a:bodyPr/>
                  <a:lstStyle/>
                  <a:p>
                    <a:r>
                      <a:t>105.0</a:t>
                    </a:r>
                  </a:p>
                </c:rich>
              </c:tx>
              <c:showLegendKey val="0"/>
              <c:showVal val="1"/>
              <c:showCatName val="0"/>
              <c:showSerName val="0"/>
              <c:showPercent val="0"/>
              <c:showBubbleSize val="0"/>
            </c:dLbl>
            <c:dLbl>
              <c:idx val="6"/>
              <c:tx>
                <c:rich>
                  <a:bodyPr/>
                  <a:lstStyle/>
                  <a:p>
                    <a:r>
                      <a:t>205.0</a:t>
                    </a:r>
                  </a:p>
                </c:rich>
              </c:tx>
              <c:showLegendKey val="0"/>
              <c:showVal val="1"/>
              <c:showCatName val="0"/>
              <c:showSerName val="0"/>
              <c:showPercent val="0"/>
              <c:showBubbleSize val="0"/>
            </c:dLbl>
            <c:dLbl>
              <c:idx val="7"/>
              <c:tx>
                <c:rich>
                  <a:bodyPr/>
                  <a:lstStyle/>
                  <a:p>
                    <a:r>
                      <a:t>350.0</a:t>
                    </a:r>
                  </a:p>
                </c:rich>
              </c:tx>
              <c:showLegendKey val="0"/>
              <c:showVal val="1"/>
              <c:showCatName val="0"/>
              <c:showSerName val="0"/>
              <c:showPercent val="0"/>
              <c:showBubbleSize val="0"/>
            </c:dLbl>
            <c:dLbl>
              <c:idx val="8"/>
              <c:tx>
                <c:rich>
                  <a:bodyPr/>
                  <a:lstStyle/>
                  <a:p>
                    <a:r>
                      <a:t>350.0</a:t>
                    </a:r>
                  </a:p>
                </c:rich>
              </c:tx>
              <c:showLegendKey val="0"/>
              <c:showVal val="1"/>
              <c:showCatName val="0"/>
              <c:showSerName val="0"/>
              <c:showPercent val="0"/>
              <c:showBubbleSize val="0"/>
            </c:dLbl>
            <c:dLbl>
              <c:idx val="9"/>
              <c:tx>
                <c:rich>
                  <a:bodyPr/>
                  <a:lstStyle/>
                  <a:p>
                    <a:r>
                      <a:t>125.0</a:t>
                    </a:r>
                  </a:p>
                </c:rich>
              </c:tx>
              <c:showLegendKey val="0"/>
              <c:showVal val="1"/>
              <c:showCatName val="0"/>
              <c:showSerName val="0"/>
              <c:showPercent val="0"/>
              <c:showBubbleSize val="0"/>
            </c:dLbl>
            <c:dLbl>
              <c:idx val="1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anana Boat Advanced Protection Sunscreen Adults Cosmetics Liquido 50+ 240Ml</c:v>
                </c:pt>
                <c:pt idx="1">
                  <c:v>Edgewell Beauty Care Antioxidant Sunscreen Adults Cosmetics Liquido 15 - 19 100Ml</c:v>
                </c:pt>
                <c:pt idx="2">
                  <c:v>Edgewell Beauty Care Antioxidant Sunscreen Adults Cosmetics Liquido 50+ 50Ml</c:v>
                </c:pt>
                <c:pt idx="3">
                  <c:v>Edgewell Beauty Care Matte Sunscreen Adults Cosmetics Liquido 30 50Ml</c:v>
                </c:pt>
                <c:pt idx="4">
                  <c:v>Edgewell Beauty Care Sensitive Sunscreen Adults Cosmetics Liquido 50+ 50Ml</c:v>
                </c:pt>
                <c:pt idx="5">
                  <c:v>Edgewell Hawaiian Tropic Island Sport Sunscreen Adults Sport Liquido 50 60Ml</c:v>
                </c:pt>
                <c:pt idx="6">
                  <c:v>Edgewell Hawaiian Tropic Ozono Sunscreen Adults Cosmetics Liquido 50+ 120Ml</c:v>
                </c:pt>
                <c:pt idx="7">
                  <c:v>Edgewell Hawaiian Tropic Ozono Sunscreen Adults Cosmetics Liquido 50+ 180Ml</c:v>
                </c:pt>
                <c:pt idx="8">
                  <c:v>Edgewell Hawaiian Tropic Ozono Sunscreen Adults Cosmetics Liquido 50+ 240Ml</c:v>
                </c:pt>
                <c:pt idx="9">
                  <c:v>Edgewell Hawaiian Tropic Ozono Sunscreen Adults Cosmetics Liquido 50+ 90Ml</c:v>
                </c:pt>
                <c:pt idx="10">
                  <c:v>Edgewell Hawaiian Tropic Sheer Touch Sunscreen Adults Cosmetics Liquido 30 - 49 60Ml</c:v>
                </c:pt>
              </c:strCache>
            </c:strRef>
          </c:cat>
          <c:val>
            <c:numRef>
              <c:f>Sheet1!$B$2:$B$12</c:f>
              <c:numCache>
                <c:formatCode>General</c:formatCode>
                <c:ptCount val="11"/>
                <c:pt idx="0">
                  <c:v>310.0</c:v>
                </c:pt>
                <c:pt idx="1">
                  <c:v>240.0</c:v>
                </c:pt>
                <c:pt idx="2">
                  <c:v>179.0</c:v>
                </c:pt>
                <c:pt idx="3">
                  <c:v>179.0</c:v>
                </c:pt>
                <c:pt idx="4">
                  <c:v>179.0</c:v>
                </c:pt>
                <c:pt idx="5">
                  <c:v>105.0</c:v>
                </c:pt>
                <c:pt idx="6">
                  <c:v>205.0</c:v>
                </c:pt>
                <c:pt idx="7">
                  <c:v>350.0</c:v>
                </c:pt>
                <c:pt idx="8">
                  <c:v>350.0</c:v>
                </c:pt>
                <c:pt idx="9">
                  <c:v>125.0</c:v>
                </c:pt>
                <c:pt idx="1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Spray Liquido 50+ 170Ml</c:v>
                </c:pt>
                <c:pt idx="1">
                  <c:v>Edgewell Banana Boat Dry Balance Sunscreen Adults Sport Spray Liquido 50 220Ml</c:v>
                </c:pt>
                <c:pt idx="2">
                  <c:v>Edgewell Hawaiian Tropic Ozono Sunscreen Adults Cosmetics Spray Liquido 50+ 180Ml</c:v>
                </c:pt>
                <c:pt idx="3">
                  <c:v>Edgewell Hawaiian Tropic Tanning Sunscreen Adults Cosmetics Spray Liquido 15 - 19 220Ml</c:v>
                </c:pt>
              </c:strCache>
            </c:strRef>
          </c:cat>
          <c:val>
            <c:numRef>
              <c:f>Sheet1!$B$2:$B$5</c:f>
              <c:numCache>
                <c:formatCode>General</c:formatCode>
                <c:ptCount val="4"/>
                <c:pt idx="0">
                  <c:v>349.0</c:v>
                </c:pt>
                <c:pt idx="1">
                  <c:v>385.0</c:v>
                </c:pt>
                <c:pt idx="2">
                  <c:v>385.0</c:v>
                </c:pt>
                <c:pt idx="3">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99.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pt idx="4">
                  <c:v>Edgewell Hawaiian Tropic Carrot Tanning Adults Cosmetics Crema 10 - 14 240Ml</c:v>
                </c:pt>
                <c:pt idx="5">
                  <c:v>Edgewell Hawaiian Tropic Other Sunscreen Adults Cosmetics Crema 50+ 240Ml</c:v>
                </c:pt>
                <c:pt idx="6">
                  <c:v>Edgewell Hawaiian Tropic Sheer Touch Sunscreen Adults Cosmetics Crema 30 - 49 240Ml</c:v>
                </c:pt>
                <c:pt idx="7">
                  <c:v>Edgewell Hawaiian Tropic Sheer Touch Sunscreen Adults Cosmetics Crema 50 120Ml</c:v>
                </c:pt>
              </c:strCache>
            </c:strRef>
          </c:cat>
          <c:val>
            <c:numRef>
              <c:f>Sheet1!$B$2:$B$9</c:f>
              <c:numCache>
                <c:formatCode>General</c:formatCode>
                <c:ptCount val="8"/>
                <c:pt idx="0">
                  <c:v>305.0</c:v>
                </c:pt>
                <c:pt idx="1">
                  <c:v>305.0</c:v>
                </c:pt>
                <c:pt idx="2">
                  <c:v>335.0</c:v>
                </c:pt>
                <c:pt idx="3">
                  <c:v>305.0</c:v>
                </c:pt>
                <c:pt idx="4">
                  <c:v>299.0</c:v>
                </c:pt>
                <c:pt idx="5">
                  <c:v>350.0</c:v>
                </c:pt>
                <c:pt idx="6">
                  <c:v>299.0</c:v>
                </c:pt>
                <c:pt idx="7">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105.0</a:t>
                    </a:r>
                  </a:p>
                </c:rich>
              </c:tx>
              <c:showLegendKey val="0"/>
              <c:showVal val="1"/>
              <c:showCatName val="0"/>
              <c:showSerName val="0"/>
              <c:showPercent val="0"/>
              <c:showBubbleSize val="0"/>
            </c:dLbl>
            <c:dLbl>
              <c:idx val="5"/>
              <c:tx>
                <c:rich>
                  <a:bodyPr/>
                  <a:lstStyle/>
                  <a:p>
                    <a:r>
                      <a:t>205.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350.0</a:t>
                    </a:r>
                  </a:p>
                </c:rich>
              </c:tx>
              <c:showLegendKey val="0"/>
              <c:showVal val="1"/>
              <c:showCatName val="0"/>
              <c:showSerName val="0"/>
              <c:showPercent val="0"/>
              <c:showBubbleSize val="0"/>
            </c:dLbl>
            <c:dLbl>
              <c:idx val="8"/>
              <c:tx>
                <c:rich>
                  <a:bodyPr/>
                  <a:lstStyle/>
                  <a:p>
                    <a:r>
                      <a:t>12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dvanced Protection Sunscreen Adults Cosmetics Liquido 50+ 24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pt idx="4">
                  <c:v>Edgewell Hawaiian Tropic Island Sport Sunscreen Adults Sport Liquido 50 60Ml</c:v>
                </c:pt>
                <c:pt idx="5">
                  <c:v>Edgewell Hawaiian Tropic Ozono Sunscreen Adults Cosmetics Liquido 50+ 120Ml</c:v>
                </c:pt>
                <c:pt idx="6">
                  <c:v>Edgewell Hawaiian Tropic Ozono Sunscreen Adults Cosmetics Liquido 50+ 180Ml</c:v>
                </c:pt>
                <c:pt idx="7">
                  <c:v>Edgewell Hawaiian Tropic Ozono Sunscreen Adults Cosmetics Liquido 50+ 240Ml</c:v>
                </c:pt>
                <c:pt idx="8">
                  <c:v>Edgewell Hawaiian Tropic Ozono Sunscreen Adults Cosmetics Liquido 50+ 90Ml</c:v>
                </c:pt>
                <c:pt idx="9">
                  <c:v>Edgewell Hawaiian Tropic Sheer Touch Sunscreen Adults Cosmetics Liquido 30 - 49 60Ml</c:v>
                </c:pt>
              </c:strCache>
            </c:strRef>
          </c:cat>
          <c:val>
            <c:numRef>
              <c:f>Sheet1!$B$2:$B$11</c:f>
              <c:numCache>
                <c:formatCode>General</c:formatCode>
                <c:ptCount val="10"/>
                <c:pt idx="0">
                  <c:v>310.0</c:v>
                </c:pt>
                <c:pt idx="1">
                  <c:v>179.0</c:v>
                </c:pt>
                <c:pt idx="2">
                  <c:v>179.0</c:v>
                </c:pt>
                <c:pt idx="3">
                  <c:v>179.0</c:v>
                </c:pt>
                <c:pt idx="4">
                  <c:v>105.0</c:v>
                </c:pt>
                <c:pt idx="5">
                  <c:v>205.0</c:v>
                </c:pt>
                <c:pt idx="6">
                  <c:v>350.0</c:v>
                </c:pt>
                <c:pt idx="7">
                  <c:v>350.0</c:v>
                </c:pt>
                <c:pt idx="8">
                  <c:v>125.0</c:v>
                </c:pt>
                <c:pt idx="9">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Spray Liquido 50+ 170Ml</c:v>
                </c:pt>
                <c:pt idx="1">
                  <c:v>Edgewell Banana Boat Dry Balance Sunscreen Adults Sport Spray Liquido 50 220Ml</c:v>
                </c:pt>
                <c:pt idx="2">
                  <c:v>Edgewell Hawaiian Tropic Ozono Sunscreen Adults Cosmetics Spray Liquido 50+ 180Ml</c:v>
                </c:pt>
                <c:pt idx="3">
                  <c:v>Edgewell Hawaiian Tropic Tanning Sunscreen Adults Cosmetics Spray Liquido 15 - 19 220Ml</c:v>
                </c:pt>
              </c:strCache>
            </c:strRef>
          </c:cat>
          <c:val>
            <c:numRef>
              <c:f>Sheet1!$B$2:$B$5</c:f>
              <c:numCache>
                <c:formatCode>General</c:formatCode>
                <c:ptCount val="4"/>
                <c:pt idx="0">
                  <c:v>349.0</c:v>
                </c:pt>
                <c:pt idx="1">
                  <c:v>385.0</c:v>
                </c:pt>
                <c:pt idx="2">
                  <c:v>385.0</c:v>
                </c:pt>
                <c:pt idx="3">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99.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pt idx="4">
                  <c:v>Edgewell Hawaiian Tropic Carrot Tanning Adults Cosmetics Crema 10 - 14 240Ml</c:v>
                </c:pt>
                <c:pt idx="5">
                  <c:v>Edgewell Hawaiian Tropic Other Sunscreen Adults Cosmetics Crema 50+ 240Ml</c:v>
                </c:pt>
                <c:pt idx="6">
                  <c:v>Edgewell Hawaiian Tropic Sheer Touch Sunscreen Adults Cosmetics Crema 30 - 49 240Ml</c:v>
                </c:pt>
                <c:pt idx="7">
                  <c:v>Edgewell Hawaiian Tropic Sheer Touch Sunscreen Adults Cosmetics Crema 50 120Ml</c:v>
                </c:pt>
              </c:strCache>
            </c:strRef>
          </c:cat>
          <c:val>
            <c:numRef>
              <c:f>Sheet1!$B$2:$B$9</c:f>
              <c:numCache>
                <c:formatCode>General</c:formatCode>
                <c:ptCount val="8"/>
                <c:pt idx="0">
                  <c:v>305.0</c:v>
                </c:pt>
                <c:pt idx="1">
                  <c:v>305.0</c:v>
                </c:pt>
                <c:pt idx="2">
                  <c:v>335.0</c:v>
                </c:pt>
                <c:pt idx="3">
                  <c:v>305.0</c:v>
                </c:pt>
                <c:pt idx="4">
                  <c:v>299.0</c:v>
                </c:pt>
                <c:pt idx="5">
                  <c:v>350.0</c:v>
                </c:pt>
                <c:pt idx="6">
                  <c:v>299.0</c:v>
                </c:pt>
                <c:pt idx="7">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105.0</a:t>
                    </a:r>
                  </a:p>
                </c:rich>
              </c:tx>
              <c:showLegendKey val="0"/>
              <c:showVal val="1"/>
              <c:showCatName val="0"/>
              <c:showSerName val="0"/>
              <c:showPercent val="0"/>
              <c:showBubbleSize val="0"/>
            </c:dLbl>
            <c:dLbl>
              <c:idx val="5"/>
              <c:tx>
                <c:rich>
                  <a:bodyPr/>
                  <a:lstStyle/>
                  <a:p>
                    <a:r>
                      <a:t>205.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350.0</a:t>
                    </a:r>
                  </a:p>
                </c:rich>
              </c:tx>
              <c:showLegendKey val="0"/>
              <c:showVal val="1"/>
              <c:showCatName val="0"/>
              <c:showSerName val="0"/>
              <c:showPercent val="0"/>
              <c:showBubbleSize val="0"/>
            </c:dLbl>
            <c:dLbl>
              <c:idx val="8"/>
              <c:tx>
                <c:rich>
                  <a:bodyPr/>
                  <a:lstStyle/>
                  <a:p>
                    <a:r>
                      <a:t>12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dvanced Protection Sunscreen Adults Cosmetics Liquido 50+ 24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pt idx="4">
                  <c:v>Edgewell Hawaiian Tropic Island Sport Sunscreen Adults Sport Liquido 50 60Ml</c:v>
                </c:pt>
                <c:pt idx="5">
                  <c:v>Edgewell Hawaiian Tropic Ozono Sunscreen Adults Cosmetics Liquido 50+ 120Ml</c:v>
                </c:pt>
                <c:pt idx="6">
                  <c:v>Edgewell Hawaiian Tropic Ozono Sunscreen Adults Cosmetics Liquido 50+ 180Ml</c:v>
                </c:pt>
                <c:pt idx="7">
                  <c:v>Edgewell Hawaiian Tropic Ozono Sunscreen Adults Cosmetics Liquido 50+ 240Ml</c:v>
                </c:pt>
                <c:pt idx="8">
                  <c:v>Edgewell Hawaiian Tropic Ozono Sunscreen Adults Cosmetics Liquido 50+ 90Ml</c:v>
                </c:pt>
                <c:pt idx="9">
                  <c:v>Edgewell Hawaiian Tropic Sheer Touch Sunscreen Adults Cosmetics Liquido 30 - 49 60Ml</c:v>
                </c:pt>
              </c:strCache>
            </c:strRef>
          </c:cat>
          <c:val>
            <c:numRef>
              <c:f>Sheet1!$B$2:$B$11</c:f>
              <c:numCache>
                <c:formatCode>General</c:formatCode>
                <c:ptCount val="10"/>
                <c:pt idx="0">
                  <c:v>310.0</c:v>
                </c:pt>
                <c:pt idx="1">
                  <c:v>179.0</c:v>
                </c:pt>
                <c:pt idx="2">
                  <c:v>179.0</c:v>
                </c:pt>
                <c:pt idx="3">
                  <c:v>179.0</c:v>
                </c:pt>
                <c:pt idx="4">
                  <c:v>105.0</c:v>
                </c:pt>
                <c:pt idx="5">
                  <c:v>205.0</c:v>
                </c:pt>
                <c:pt idx="6">
                  <c:v>350.0</c:v>
                </c:pt>
                <c:pt idx="7">
                  <c:v>350.0</c:v>
                </c:pt>
                <c:pt idx="8">
                  <c:v>125.0</c:v>
                </c:pt>
                <c:pt idx="9">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qua Protect Sunscreen Adults Cosmetics Spray Liquido 50+ 170Ml</c:v>
                </c:pt>
                <c:pt idx="1">
                  <c:v>Edgewell Banana Boat Dry Balance Sunscreen Adults Sport Spray Liquido 50 220Ml</c:v>
                </c:pt>
                <c:pt idx="2">
                  <c:v>Edgewell Hawaiian Tropic Ozono Sunscreen Adults Cosmetics Spray Liquido 50+ 180Ml</c:v>
                </c:pt>
              </c:strCache>
            </c:strRef>
          </c:cat>
          <c:val>
            <c:numRef>
              <c:f>Sheet1!$B$2:$B$4</c:f>
              <c:numCache>
                <c:formatCode>General</c:formatCode>
                <c:ptCount val="3"/>
                <c:pt idx="0">
                  <c:v>349.0</c:v>
                </c:pt>
                <c:pt idx="1">
                  <c:v>385.0</c:v>
                </c:pt>
                <c:pt idx="2">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99.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pt idx="4">
                  <c:v>Edgewell Hawaiian Tropic Carrot Tanning Adults Cosmetics Crema 10 - 14 240Ml</c:v>
                </c:pt>
                <c:pt idx="5">
                  <c:v>Edgewell Hawaiian Tropic Other Sunscreen Adults Cosmetics Crema 50+ 240Ml</c:v>
                </c:pt>
                <c:pt idx="6">
                  <c:v>Edgewell Hawaiian Tropic Sheer Touch Sunscreen Adults Cosmetics Crema 30 - 49 240Ml</c:v>
                </c:pt>
                <c:pt idx="7">
                  <c:v>Edgewell Hawaiian Tropic Sheer Touch Sunscreen Adults Cosmetics Crema 50 120Ml</c:v>
                </c:pt>
              </c:strCache>
            </c:strRef>
          </c:cat>
          <c:val>
            <c:numRef>
              <c:f>Sheet1!$B$2:$B$9</c:f>
              <c:numCache>
                <c:formatCode>General</c:formatCode>
                <c:ptCount val="8"/>
                <c:pt idx="0">
                  <c:v>305.0</c:v>
                </c:pt>
                <c:pt idx="1">
                  <c:v>305.0</c:v>
                </c:pt>
                <c:pt idx="2">
                  <c:v>335.0</c:v>
                </c:pt>
                <c:pt idx="3">
                  <c:v>305.0</c:v>
                </c:pt>
                <c:pt idx="4">
                  <c:v>299.0</c:v>
                </c:pt>
                <c:pt idx="5">
                  <c:v>350.0</c:v>
                </c:pt>
                <c:pt idx="6">
                  <c:v>299.0</c:v>
                </c:pt>
                <c:pt idx="7">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105.0</a:t>
                    </a:r>
                  </a:p>
                </c:rich>
              </c:tx>
              <c:showLegendKey val="0"/>
              <c:showVal val="1"/>
              <c:showCatName val="0"/>
              <c:showSerName val="0"/>
              <c:showPercent val="0"/>
              <c:showBubbleSize val="0"/>
            </c:dLbl>
            <c:dLbl>
              <c:idx val="5"/>
              <c:tx>
                <c:rich>
                  <a:bodyPr/>
                  <a:lstStyle/>
                  <a:p>
                    <a:r>
                      <a:t>205.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350.0</a:t>
                    </a:r>
                  </a:p>
                </c:rich>
              </c:tx>
              <c:showLegendKey val="0"/>
              <c:showVal val="1"/>
              <c:showCatName val="0"/>
              <c:showSerName val="0"/>
              <c:showPercent val="0"/>
              <c:showBubbleSize val="0"/>
            </c:dLbl>
            <c:dLbl>
              <c:idx val="8"/>
              <c:tx>
                <c:rich>
                  <a:bodyPr/>
                  <a:lstStyle/>
                  <a:p>
                    <a:r>
                      <a:t>12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dvanced Protection Sunscreen Adults Cosmetics Liquido 50+ 24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pt idx="4">
                  <c:v>Edgewell Hawaiian Tropic Island Sport Sunscreen Adults Sport Liquido 50 60Ml</c:v>
                </c:pt>
                <c:pt idx="5">
                  <c:v>Edgewell Hawaiian Tropic Ozono Sunscreen Adults Cosmetics Liquido 50+ 120Ml</c:v>
                </c:pt>
                <c:pt idx="6">
                  <c:v>Edgewell Hawaiian Tropic Ozono Sunscreen Adults Cosmetics Liquido 50+ 180Ml</c:v>
                </c:pt>
                <c:pt idx="7">
                  <c:v>Edgewell Hawaiian Tropic Ozono Sunscreen Adults Cosmetics Liquido 50+ 240Ml</c:v>
                </c:pt>
                <c:pt idx="8">
                  <c:v>Edgewell Hawaiian Tropic Ozono Sunscreen Adults Cosmetics Liquido 50+ 90Ml</c:v>
                </c:pt>
                <c:pt idx="9">
                  <c:v>Edgewell Hawaiian Tropic Sheer Touch Sunscreen Adults Cosmetics Liquido 30 - 49 60Ml</c:v>
                </c:pt>
              </c:strCache>
            </c:strRef>
          </c:cat>
          <c:val>
            <c:numRef>
              <c:f>Sheet1!$B$2:$B$11</c:f>
              <c:numCache>
                <c:formatCode>General</c:formatCode>
                <c:ptCount val="10"/>
                <c:pt idx="0">
                  <c:v>310.0</c:v>
                </c:pt>
                <c:pt idx="1">
                  <c:v>179.0</c:v>
                </c:pt>
                <c:pt idx="2">
                  <c:v>179.0</c:v>
                </c:pt>
                <c:pt idx="3">
                  <c:v>179.0</c:v>
                </c:pt>
                <c:pt idx="4">
                  <c:v>105.0</c:v>
                </c:pt>
                <c:pt idx="5">
                  <c:v>205.0</c:v>
                </c:pt>
                <c:pt idx="6">
                  <c:v>350.0</c:v>
                </c:pt>
                <c:pt idx="7">
                  <c:v>350.0</c:v>
                </c:pt>
                <c:pt idx="8">
                  <c:v>125.0</c:v>
                </c:pt>
                <c:pt idx="9">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After Sun After Sun Adults Cosmetics Gel 0 - 5 230Ml</c:v>
                </c:pt>
                <c:pt idx="1">
                  <c:v>Edgewell Hawaiian Tropic After Sun After Sun Adults Cosmetics Gel 0 - 5 240Ml</c:v>
                </c:pt>
              </c:strCache>
            </c:strRef>
          </c:cat>
          <c:val>
            <c:numRef>
              <c:f>Sheet1!$B$2:$B$3</c:f>
              <c:numCache>
                <c:formatCode>General</c:formatCode>
                <c:ptCount val="2"/>
                <c:pt idx="0">
                  <c:v>105.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dLbl>
              <c:idx val="3"/>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qua Protect Sunscreen Adults Cosmetics Spray Liquido 50+ 170Ml</c:v>
                </c:pt>
                <c:pt idx="1">
                  <c:v>Edgewell Banana Boat Dry Balance Sunscreen Adults Sport Spray Liquido 50 220Ml</c:v>
                </c:pt>
                <c:pt idx="2">
                  <c:v>Edgewell Hawaiian Tropic Ozono Sunscreen Adults Cosmetics Spray Liquido 50+ 180Ml</c:v>
                </c:pt>
                <c:pt idx="3">
                  <c:v>Edgewell Hawaiian Tropic Tanning Sunscreen Adults Cosmetics Spray Liquido 15 - 19 220Ml</c:v>
                </c:pt>
              </c:strCache>
            </c:strRef>
          </c:cat>
          <c:val>
            <c:numRef>
              <c:f>Sheet1!$B$2:$B$5</c:f>
              <c:numCache>
                <c:formatCode>General</c:formatCode>
                <c:ptCount val="4"/>
                <c:pt idx="0">
                  <c:v>349.0</c:v>
                </c:pt>
                <c:pt idx="1">
                  <c:v>385.0</c:v>
                </c:pt>
                <c:pt idx="2">
                  <c:v>385.0</c:v>
                </c:pt>
                <c:pt idx="3">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249.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Cosmetics Spray Crema 50+ 220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Ultra Sunscreen Adults Sport Roll-On 60+ 75Ml</c:v>
                </c:pt>
              </c:strCache>
            </c:strRef>
          </c:cat>
          <c:val>
            <c:numRef>
              <c:f>Sheet1!$B$2:$B$15</c:f>
              <c:numCache>
                <c:formatCode>General</c:formatCode>
                <c:ptCount val="14"/>
                <c:pt idx="0">
                  <c:v>310.0</c:v>
                </c:pt>
                <c:pt idx="1">
                  <c:v>305.0</c:v>
                </c:pt>
                <c:pt idx="2">
                  <c:v>349.0</c:v>
                </c:pt>
                <c:pt idx="3">
                  <c:v>305.0</c:v>
                </c:pt>
                <c:pt idx="4">
                  <c:v>367.5</c:v>
                </c:pt>
                <c:pt idx="5">
                  <c:v>305.0</c:v>
                </c:pt>
                <c:pt idx="6">
                  <c:v>249.0</c:v>
                </c:pt>
                <c:pt idx="7">
                  <c:v>335.0</c:v>
                </c:pt>
                <c:pt idx="8">
                  <c:v>385.0</c:v>
                </c:pt>
                <c:pt idx="9">
                  <c:v>305.0</c:v>
                </c:pt>
                <c:pt idx="10">
                  <c:v>310.0</c:v>
                </c:pt>
                <c:pt idx="11">
                  <c:v>249.0</c:v>
                </c:pt>
                <c:pt idx="12">
                  <c:v>242.0</c:v>
                </c:pt>
                <c:pt idx="13">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299.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Kids Sport Sunscreen Kids Cosmetics Crema 50 180Ml</c:v>
                </c:pt>
                <c:pt idx="4">
                  <c:v>Edgewell Hawaiian Tropic Carrot Tanning Adults Cosmetics Crema 10 - 14 240Ml</c:v>
                </c:pt>
                <c:pt idx="5">
                  <c:v>Edgewell Hawaiian Tropic Other Sunscreen Adults Cosmetics Crema 50+ 240Ml</c:v>
                </c:pt>
                <c:pt idx="6">
                  <c:v>Edgewell Hawaiian Tropic Sheer Touch Sunscreen Adults Cosmetics Crema 30 - 49 240Ml</c:v>
                </c:pt>
                <c:pt idx="7">
                  <c:v>Edgewell Hawaiian Tropic Sheer Touch Sunscreen Adults Cosmetics Crema 50 120Ml</c:v>
                </c:pt>
              </c:strCache>
            </c:strRef>
          </c:cat>
          <c:val>
            <c:numRef>
              <c:f>Sheet1!$B$2:$B$9</c:f>
              <c:numCache>
                <c:formatCode>General</c:formatCode>
                <c:ptCount val="8"/>
                <c:pt idx="0">
                  <c:v>305.0</c:v>
                </c:pt>
                <c:pt idx="1">
                  <c:v>305.0</c:v>
                </c:pt>
                <c:pt idx="2">
                  <c:v>335.0</c:v>
                </c:pt>
                <c:pt idx="3">
                  <c:v>305.0</c:v>
                </c:pt>
                <c:pt idx="4">
                  <c:v>299.0</c:v>
                </c:pt>
                <c:pt idx="5">
                  <c:v>350.0</c:v>
                </c:pt>
                <c:pt idx="6">
                  <c:v>299.0</c:v>
                </c:pt>
                <c:pt idx="7">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qua Protect Sunscreen Adults Cosmetics Spray Liquido 50+ 170Ml</c:v>
                </c:pt>
                <c:pt idx="1">
                  <c:v>Edgewell Banana Boat Dry Balance Sunscreen Adults Sport Spray Liquido 50 220Ml</c:v>
                </c:pt>
                <c:pt idx="2">
                  <c:v>Edgewell Hawaiian Tropic Ozono Sunscreen Adults Cosmetics Spray Liquido 50+ 180Ml</c:v>
                </c:pt>
              </c:strCache>
            </c:strRef>
          </c:cat>
          <c:val>
            <c:numRef>
              <c:f>Sheet1!$B$2:$B$4</c:f>
              <c:numCache>
                <c:formatCode>General</c:formatCode>
                <c:ptCount val="3"/>
                <c:pt idx="0">
                  <c:v>349.0</c:v>
                </c:pt>
                <c:pt idx="1">
                  <c:v>385.0</c:v>
                </c:pt>
                <c:pt idx="2">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3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2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Hawaiian Tropic Other Sunscreen Adults Cosmetics Crema 50+ 240Ml</c:v>
                </c:pt>
                <c:pt idx="4">
                  <c:v>Edgewell Hawaiian Tropic Sheer Touch Sunscreen Adults Cosmetics Crema 50 120Ml</c:v>
                </c:pt>
              </c:strCache>
            </c:strRef>
          </c:cat>
          <c:val>
            <c:numRef>
              <c:f>Sheet1!$B$2:$B$6</c:f>
              <c:numCache>
                <c:formatCode>General</c:formatCode>
                <c:ptCount val="5"/>
                <c:pt idx="0">
                  <c:v>305.0</c:v>
                </c:pt>
                <c:pt idx="1">
                  <c:v>305.0</c:v>
                </c:pt>
                <c:pt idx="2">
                  <c:v>335.0</c:v>
                </c:pt>
                <c:pt idx="3">
                  <c:v>350.0</c:v>
                </c:pt>
                <c:pt idx="4">
                  <c:v>2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dLbl>
              <c:idx val="4"/>
              <c:tx>
                <c:rich>
                  <a:bodyPr/>
                  <a:lstStyle/>
                  <a:p>
                    <a:r>
                      <a:t>105.0</a:t>
                    </a:r>
                  </a:p>
                </c:rich>
              </c:tx>
              <c:showLegendKey val="0"/>
              <c:showVal val="1"/>
              <c:showCatName val="0"/>
              <c:showSerName val="0"/>
              <c:showPercent val="0"/>
              <c:showBubbleSize val="0"/>
            </c:dLbl>
            <c:dLbl>
              <c:idx val="5"/>
              <c:tx>
                <c:rich>
                  <a:bodyPr/>
                  <a:lstStyle/>
                  <a:p>
                    <a:r>
                      <a:t>205.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125.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Advanced Protection Sunscreen Adults Cosmetics Liquido 50+ 24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pt idx="4">
                  <c:v>Edgewell Hawaiian Tropic Island Sport Sunscreen Adults Sport Liquido 50 60Ml</c:v>
                </c:pt>
                <c:pt idx="5">
                  <c:v>Edgewell Hawaiian Tropic Ozono Sunscreen Adults Cosmetics Liquido 50+ 120Ml</c:v>
                </c:pt>
                <c:pt idx="6">
                  <c:v>Edgewell Hawaiian Tropic Ozono Sunscreen Adults Cosmetics Liquido 50+ 240Ml</c:v>
                </c:pt>
                <c:pt idx="7">
                  <c:v>Edgewell Hawaiian Tropic Ozono Sunscreen Adults Cosmetics Liquido 50+ 90Ml</c:v>
                </c:pt>
                <c:pt idx="8">
                  <c:v>Edgewell Hawaiian Tropic Sheer Touch Sunscreen Adults Cosmetics Liquido 30 - 49 60Ml</c:v>
                </c:pt>
              </c:strCache>
            </c:strRef>
          </c:cat>
          <c:val>
            <c:numRef>
              <c:f>Sheet1!$B$2:$B$10</c:f>
              <c:numCache>
                <c:formatCode>General</c:formatCode>
                <c:ptCount val="9"/>
                <c:pt idx="0">
                  <c:v>310.0</c:v>
                </c:pt>
                <c:pt idx="1">
                  <c:v>179.0</c:v>
                </c:pt>
                <c:pt idx="2">
                  <c:v>179.0</c:v>
                </c:pt>
                <c:pt idx="3">
                  <c:v>179.0</c:v>
                </c:pt>
                <c:pt idx="4">
                  <c:v>105.0</c:v>
                </c:pt>
                <c:pt idx="5">
                  <c:v>205.0</c:v>
                </c:pt>
                <c:pt idx="6">
                  <c:v>350.0</c:v>
                </c:pt>
                <c:pt idx="7">
                  <c:v>125.0</c:v>
                </c:pt>
                <c:pt idx="8">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9.0</a:t>
                    </a:r>
                  </a:p>
                </c:rich>
              </c:tx>
              <c:showLegendKey val="0"/>
              <c:showVal val="1"/>
              <c:showCatName val="0"/>
              <c:showSerName val="0"/>
              <c:showPercent val="0"/>
              <c:showBubbleSize val="0"/>
            </c:dLbl>
            <c:dLbl>
              <c:idx val="1"/>
              <c:tx>
                <c:rich>
                  <a:bodyPr/>
                  <a:lstStyle/>
                  <a:p>
                    <a:r>
                      <a:t>385.0</a:t>
                    </a:r>
                  </a:p>
                </c:rich>
              </c:tx>
              <c:showLegendKey val="0"/>
              <c:showVal val="1"/>
              <c:showCatName val="0"/>
              <c:showSerName val="0"/>
              <c:showPercent val="0"/>
              <c:showBubbleSize val="0"/>
            </c:dLbl>
            <c:dLbl>
              <c:idx val="2"/>
              <c:tx>
                <c:rich>
                  <a:bodyPr/>
                  <a:lstStyle/>
                  <a:p>
                    <a:r>
                      <a:t>3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qua Protect Sunscreen Adults Cosmetics Spray Liquido 50+ 170Ml</c:v>
                </c:pt>
                <c:pt idx="1">
                  <c:v>Edgewell Banana Boat Dry Balance Sunscreen Adults Sport Spray Liquido 50 220Ml</c:v>
                </c:pt>
                <c:pt idx="2">
                  <c:v>Edgewell Hawaiian Tropic Ozono Sunscreen Adults Cosmetics Spray Liquido 50+ 180Ml</c:v>
                </c:pt>
              </c:strCache>
            </c:strRef>
          </c:cat>
          <c:val>
            <c:numRef>
              <c:f>Sheet1!$B$2:$B$4</c:f>
              <c:numCache>
                <c:formatCode>General</c:formatCode>
                <c:ptCount val="3"/>
                <c:pt idx="0">
                  <c:v>349.0</c:v>
                </c:pt>
                <c:pt idx="1">
                  <c:v>385.0</c:v>
                </c:pt>
                <c:pt idx="2">
                  <c:v>3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105.0</a:t>
                    </a:r>
                  </a:p>
                </c:rich>
              </c:tx>
              <c:showLegendKey val="0"/>
              <c:showVal val="1"/>
              <c:showCatName val="0"/>
              <c:showSerName val="0"/>
              <c:showPercent val="0"/>
              <c:showBubbleSize val="0"/>
            </c:dLbl>
            <c:dLbl>
              <c:idx val="2"/>
              <c:tx>
                <c:rich>
                  <a:bodyPr/>
                  <a:lstStyle/>
                  <a:p>
                    <a:r>
                      <a:t>305.0</a:t>
                    </a:r>
                  </a:p>
                </c:rich>
              </c:tx>
              <c:showLegendKey val="0"/>
              <c:showVal val="1"/>
              <c:showCatName val="0"/>
              <c:showSerName val="0"/>
              <c:showPercent val="0"/>
              <c:showBubbleSize val="0"/>
            </c:dLbl>
            <c:dLbl>
              <c:idx val="3"/>
              <c:tx>
                <c:rich>
                  <a:bodyPr/>
                  <a:lstStyle/>
                  <a:p>
                    <a:r>
                      <a:t>349.0</a:t>
                    </a:r>
                  </a:p>
                </c:rich>
              </c:tx>
              <c:showLegendKey val="0"/>
              <c:showVal val="1"/>
              <c:showCatName val="0"/>
              <c:showSerName val="0"/>
              <c:showPercent val="0"/>
              <c:showBubbleSize val="0"/>
            </c:dLbl>
            <c:dLbl>
              <c:idx val="4"/>
              <c:tx>
                <c:rich>
                  <a:bodyPr/>
                  <a:lstStyle/>
                  <a:p>
                    <a:r>
                      <a:t>305.0</a:t>
                    </a:r>
                  </a:p>
                </c:rich>
              </c:tx>
              <c:showLegendKey val="0"/>
              <c:showVal val="1"/>
              <c:showCatName val="0"/>
              <c:showSerName val="0"/>
              <c:showPercent val="0"/>
              <c:showBubbleSize val="0"/>
            </c:dLbl>
            <c:dLbl>
              <c:idx val="5"/>
              <c:tx>
                <c:rich>
                  <a:bodyPr/>
                  <a:lstStyle/>
                  <a:p>
                    <a:r>
                      <a:t>367.5</a:t>
                    </a:r>
                  </a:p>
                </c:rich>
              </c:tx>
              <c:showLegendKey val="0"/>
              <c:showVal val="1"/>
              <c:showCatName val="0"/>
              <c:showSerName val="0"/>
              <c:showPercent val="0"/>
              <c:showBubbleSize val="0"/>
            </c:dLbl>
            <c:dLbl>
              <c:idx val="6"/>
              <c:tx>
                <c:rich>
                  <a:bodyPr/>
                  <a:lstStyle/>
                  <a:p>
                    <a:r>
                      <a:t>305.0</a:t>
                    </a:r>
                  </a:p>
                </c:rich>
              </c:tx>
              <c:showLegendKey val="0"/>
              <c:showVal val="1"/>
              <c:showCatName val="0"/>
              <c:showSerName val="0"/>
              <c:showPercent val="0"/>
              <c:showBubbleSize val="0"/>
            </c:dLbl>
            <c:dLbl>
              <c:idx val="7"/>
              <c:tx>
                <c:rich>
                  <a:bodyPr/>
                  <a:lstStyle/>
                  <a:p>
                    <a:r>
                      <a:t>249.0</a:t>
                    </a:r>
                  </a:p>
                </c:rich>
              </c:tx>
              <c:showLegendKey val="0"/>
              <c:showVal val="1"/>
              <c:showCatName val="0"/>
              <c:showSerName val="0"/>
              <c:showPercent val="0"/>
              <c:showBubbleSize val="0"/>
            </c:dLbl>
            <c:dLbl>
              <c:idx val="8"/>
              <c:tx>
                <c:rich>
                  <a:bodyPr/>
                  <a:lstStyle/>
                  <a:p>
                    <a:r>
                      <a:t>335.0</a:t>
                    </a:r>
                  </a:p>
                </c:rich>
              </c:tx>
              <c:showLegendKey val="0"/>
              <c:showVal val="1"/>
              <c:showCatName val="0"/>
              <c:showSerName val="0"/>
              <c:showPercent val="0"/>
              <c:showBubbleSize val="0"/>
            </c:dLbl>
            <c:dLbl>
              <c:idx val="9"/>
              <c:tx>
                <c:rich>
                  <a:bodyPr/>
                  <a:lstStyle/>
                  <a:p>
                    <a:r>
                      <a:t>385.0</a:t>
                    </a:r>
                  </a:p>
                </c:rich>
              </c:tx>
              <c:showLegendKey val="0"/>
              <c:showVal val="1"/>
              <c:showCatName val="0"/>
              <c:showSerName val="0"/>
              <c:showPercent val="0"/>
              <c:showBubbleSize val="0"/>
            </c:dLbl>
            <c:dLbl>
              <c:idx val="10"/>
              <c:tx>
                <c:rich>
                  <a:bodyPr/>
                  <a:lstStyle/>
                  <a:p>
                    <a:r>
                      <a:t>305.0</a:t>
                    </a:r>
                  </a:p>
                </c:rich>
              </c:tx>
              <c:showLegendKey val="0"/>
              <c:showVal val="1"/>
              <c:showCatName val="0"/>
              <c:showSerName val="0"/>
              <c:showPercent val="0"/>
              <c:showBubbleSize val="0"/>
            </c:dLbl>
            <c:dLbl>
              <c:idx val="11"/>
              <c:tx>
                <c:rich>
                  <a:bodyPr/>
                  <a:lstStyle/>
                  <a:p>
                    <a:r>
                      <a:t>310.0</a:t>
                    </a:r>
                  </a:p>
                </c:rich>
              </c:tx>
              <c:showLegendKey val="0"/>
              <c:showVal val="1"/>
              <c:showCatName val="0"/>
              <c:showSerName val="0"/>
              <c:showPercent val="0"/>
              <c:showBubbleSize val="0"/>
            </c:dLbl>
            <c:dLbl>
              <c:idx val="12"/>
              <c:tx>
                <c:rich>
                  <a:bodyPr/>
                  <a:lstStyle/>
                  <a:p>
                    <a:r>
                      <a:t>249.0</a:t>
                    </a:r>
                  </a:p>
                </c:rich>
              </c:tx>
              <c:showLegendKey val="0"/>
              <c:showVal val="1"/>
              <c:showCatName val="0"/>
              <c:showSerName val="0"/>
              <c:showPercent val="0"/>
              <c:showBubbleSize val="0"/>
            </c:dLbl>
            <c:dLbl>
              <c:idx val="13"/>
              <c:tx>
                <c:rich>
                  <a:bodyPr/>
                  <a:lstStyle/>
                  <a:p>
                    <a:r>
                      <a:t>242.0</a:t>
                    </a:r>
                  </a:p>
                </c:rich>
              </c:tx>
              <c:showLegendKey val="0"/>
              <c:showVal val="1"/>
              <c:showCatName val="0"/>
              <c:showSerName val="0"/>
              <c:showPercent val="0"/>
              <c:showBubbleSize val="0"/>
            </c:dLbl>
            <c:dLbl>
              <c:idx val="14"/>
              <c:tx>
                <c:rich>
                  <a:bodyPr/>
                  <a:lstStyle/>
                  <a:p>
                    <a:r>
                      <a:t>279.0</a:t>
                    </a:r>
                  </a:p>
                </c:rich>
              </c:tx>
              <c:showLegendKey val="0"/>
              <c:showVal val="1"/>
              <c:showCatName val="0"/>
              <c:showSerName val="0"/>
              <c:showPercent val="0"/>
              <c:showBubbleSize val="0"/>
            </c:dLbl>
            <c:dLbl>
              <c:idx val="15"/>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Banana Boat Advanced Protection Sunscreen Adults Cosmetics Liquido 50+ 240Ml</c:v>
                </c:pt>
                <c:pt idx="1">
                  <c:v>Edgewell Banana Boat After Sun After Sun Adults Cosmetics Gel 0 - 5 230Ml</c:v>
                </c:pt>
                <c:pt idx="2">
                  <c:v>Edgewell Banana Boat Aqua Protect Sunscreen Adults Cosmetics Crema 50+ 236Ml</c:v>
                </c:pt>
                <c:pt idx="3">
                  <c:v>Edgewell Banana Boat Aqua Protect Sunscreen Adults Cosmetics Spray Liquido 50+ 170Ml</c:v>
                </c:pt>
                <c:pt idx="4">
                  <c:v>Edgewell Banana Boat Aqua Protect Sunscreen Adults Sport Crema 50+ 236Ml</c:v>
                </c:pt>
                <c:pt idx="5">
                  <c:v>Edgewell Banana Boat Banded Pack Banded Pack 2X Sunscreen Multi 50+ 170Ml</c:v>
                </c:pt>
                <c:pt idx="6">
                  <c:v>Edgewell Banana Boat Banded Pack Banded Pack 2X Sunscreen Multi 50+ 236Ml</c:v>
                </c:pt>
                <c:pt idx="7">
                  <c:v>Edgewell Banana Boat Dry Balance Sunscreen Adults Cosmetics Spray Crema 50+ 220Ml</c:v>
                </c:pt>
                <c:pt idx="8">
                  <c:v>Edgewell Banana Boat Dry Balance Sunscreen Adults Sport Crema 50+ 180Ml</c:v>
                </c:pt>
                <c:pt idx="9">
                  <c:v>Edgewell Banana Boat Dry Balance Sunscreen Adults Sport Spray Liquido 50 220Ml</c:v>
                </c:pt>
                <c:pt idx="10">
                  <c:v>Edgewell Banana Boat Kids Sport Sunscreen Kids Cosmetics Crema 50 180Ml</c:v>
                </c:pt>
                <c:pt idx="11">
                  <c:v>Edgewell Banana Boat Mineral Sunscreen Adults Cosmetics Locion 50 60Ml</c:v>
                </c:pt>
                <c:pt idx="12">
                  <c:v>Edgewell Banana Boat Mineral Sunscreen Adults Sport Locion 50 180Ml</c:v>
                </c:pt>
                <c:pt idx="13">
                  <c:v>Edgewell Banana Boat Mineral Sunscreen Kids Cosmetics Locion 50 180Ml</c:v>
                </c:pt>
                <c:pt idx="14">
                  <c:v>Edgewell Banana Boat Tanning Tanning Adults Cosmetics Spray Aceite 0 - 5 237Ml</c:v>
                </c:pt>
                <c:pt idx="15">
                  <c:v>Edgewell Banana Boat Ultra Sunscreen Adults Sport Roll-On 60+ 75Ml</c:v>
                </c:pt>
              </c:strCache>
            </c:strRef>
          </c:cat>
          <c:val>
            <c:numRef>
              <c:f>Sheet1!$B$2:$B$17</c:f>
              <c:numCache>
                <c:formatCode>General</c:formatCode>
                <c:ptCount val="16"/>
                <c:pt idx="0">
                  <c:v>310.0</c:v>
                </c:pt>
                <c:pt idx="1">
                  <c:v>105.0</c:v>
                </c:pt>
                <c:pt idx="2">
                  <c:v>305.0</c:v>
                </c:pt>
                <c:pt idx="3">
                  <c:v>349.0</c:v>
                </c:pt>
                <c:pt idx="4">
                  <c:v>305.0</c:v>
                </c:pt>
                <c:pt idx="5">
                  <c:v>367.5</c:v>
                </c:pt>
                <c:pt idx="6">
                  <c:v>305.0</c:v>
                </c:pt>
                <c:pt idx="7">
                  <c:v>249.0</c:v>
                </c:pt>
                <c:pt idx="8">
                  <c:v>335.0</c:v>
                </c:pt>
                <c:pt idx="9">
                  <c:v>385.0</c:v>
                </c:pt>
                <c:pt idx="10">
                  <c:v>305.0</c:v>
                </c:pt>
                <c:pt idx="11">
                  <c:v>310.0</c:v>
                </c:pt>
                <c:pt idx="12">
                  <c:v>249.0</c:v>
                </c:pt>
                <c:pt idx="13">
                  <c:v>242.0</c:v>
                </c:pt>
                <c:pt idx="14">
                  <c:v>279.0</c:v>
                </c:pt>
                <c:pt idx="15">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Carrot Tanning Adults Cosmetics Crema 10 - 14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Carrot Tanning Adults Cosmetics Crema 10 - 14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76.2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9.0</a:t>
                    </a:r>
                  </a:p>
                </c:rich>
              </c:tx>
              <c:showLegendKey val="0"/>
              <c:showVal val="1"/>
              <c:showCatName val="0"/>
              <c:showSerName val="0"/>
              <c:showPercent val="0"/>
              <c:showBubbleSize val="0"/>
            </c:dLbl>
            <c:dLbl>
              <c:idx val="11"/>
              <c:tx>
                <c:rich>
                  <a:bodyPr/>
                  <a:lstStyle/>
                  <a:p>
                    <a:r>
                      <a:t>242.0</a:t>
                    </a:r>
                  </a:p>
                </c:rich>
              </c:tx>
              <c:showLegendKey val="0"/>
              <c:showVal val="1"/>
              <c:showCatName val="0"/>
              <c:showSerName val="0"/>
              <c:showPercent val="0"/>
              <c:showBubbleSize val="0"/>
            </c:dLbl>
            <c:dLbl>
              <c:idx val="12"/>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Adults Sport Locion 50 180Ml</c:v>
                </c:pt>
                <c:pt idx="11">
                  <c:v>Edgewell Banana Boat Mineral Sunscreen Kids Cosmetics Locion 50 180Ml</c:v>
                </c:pt>
                <c:pt idx="12">
                  <c:v>Edgewell Banana Boat Ultra Sunscreen Adults Sport Roll-On 60+ 75Ml</c:v>
                </c:pt>
              </c:strCache>
            </c:strRef>
          </c:cat>
          <c:val>
            <c:numRef>
              <c:f>Sheet1!$B$2:$B$14</c:f>
              <c:numCache>
                <c:formatCode>General</c:formatCode>
                <c:ptCount val="13"/>
                <c:pt idx="0">
                  <c:v>310.0</c:v>
                </c:pt>
                <c:pt idx="1">
                  <c:v>305.0</c:v>
                </c:pt>
                <c:pt idx="2">
                  <c:v>349.0</c:v>
                </c:pt>
                <c:pt idx="3">
                  <c:v>305.0</c:v>
                </c:pt>
                <c:pt idx="4">
                  <c:v>376.25</c:v>
                </c:pt>
                <c:pt idx="5">
                  <c:v>305.0</c:v>
                </c:pt>
                <c:pt idx="6">
                  <c:v>335.0</c:v>
                </c:pt>
                <c:pt idx="7">
                  <c:v>385.0</c:v>
                </c:pt>
                <c:pt idx="8">
                  <c:v>305.0</c:v>
                </c:pt>
                <c:pt idx="9">
                  <c:v>310.0</c:v>
                </c:pt>
                <c:pt idx="10">
                  <c:v>249.0</c:v>
                </c:pt>
                <c:pt idx="11">
                  <c:v>242.0</c:v>
                </c:pt>
                <c:pt idx="12">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125.0</a:t>
                    </a:r>
                  </a:p>
                </c:rich>
              </c:tx>
              <c:showLegendKey val="0"/>
              <c:showVal val="1"/>
              <c:showCatName val="0"/>
              <c:showSerName val="0"/>
              <c:showPercent val="0"/>
              <c:showBubbleSize val="0"/>
            </c:dLbl>
            <c:dLbl>
              <c:idx val="5"/>
              <c:tx>
                <c:rich>
                  <a:bodyPr/>
                  <a:lstStyle/>
                  <a:p>
                    <a:r>
                      <a:t>385.0</a:t>
                    </a:r>
                  </a:p>
                </c:rich>
              </c:tx>
              <c:showLegendKey val="0"/>
              <c:showVal val="1"/>
              <c:showCatName val="0"/>
              <c:showSerName val="0"/>
              <c:showPercent val="0"/>
              <c:showBubbleSize val="0"/>
            </c:dLbl>
            <c:dLbl>
              <c:idx val="6"/>
              <c:tx>
                <c:rich>
                  <a:bodyPr/>
                  <a:lstStyle/>
                  <a:p>
                    <a:r>
                      <a:t>299.0</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24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Sheer Touch Sunscreen Adults Cosmetics Crema 50 120Ml</c:v>
                </c:pt>
                <c:pt idx="8">
                  <c:v>Edgewell Hawaiian Tropic Sheer Touch Sunscreen Adults Cosmetics Liquido 30 - 49 60Ml</c:v>
                </c:pt>
              </c:strCache>
            </c:strRef>
          </c:cat>
          <c:val>
            <c:numRef>
              <c:f>Sheet1!$B$2:$B$10</c:f>
              <c:numCache>
                <c:formatCode>General</c:formatCode>
                <c:ptCount val="9"/>
                <c:pt idx="0">
                  <c:v>105.0</c:v>
                </c:pt>
                <c:pt idx="1">
                  <c:v>350.0</c:v>
                </c:pt>
                <c:pt idx="2">
                  <c:v>205.0</c:v>
                </c:pt>
                <c:pt idx="3">
                  <c:v>350.0</c:v>
                </c:pt>
                <c:pt idx="4">
                  <c:v>125.0</c:v>
                </c:pt>
                <c:pt idx="5">
                  <c:v>385.0</c:v>
                </c:pt>
                <c:pt idx="6">
                  <c:v>299.0</c:v>
                </c:pt>
                <c:pt idx="7">
                  <c:v>205.0</c:v>
                </c:pt>
                <c:pt idx="8">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1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205.0</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350.0</a:t>
                    </a:r>
                  </a:p>
                </c:rich>
              </c:tx>
              <c:showLegendKey val="0"/>
              <c:showVal val="1"/>
              <c:showCatName val="0"/>
              <c:showSerName val="0"/>
              <c:showPercent val="0"/>
              <c:showBubbleSize val="0"/>
            </c:dLbl>
            <c:dLbl>
              <c:idx val="7"/>
              <c:tx>
                <c:rich>
                  <a:bodyPr/>
                  <a:lstStyle/>
                  <a:p>
                    <a:r>
                      <a:t>12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299.0</a:t>
                    </a:r>
                  </a:p>
                </c:rich>
              </c:tx>
              <c:showLegendKey val="0"/>
              <c:showVal val="1"/>
              <c:showCatName val="0"/>
              <c:showSerName val="0"/>
              <c:showPercent val="0"/>
              <c:showBubbleSize val="0"/>
            </c:dLbl>
            <c:dLbl>
              <c:idx val="10"/>
              <c:tx>
                <c:rich>
                  <a:bodyPr/>
                  <a:lstStyle/>
                  <a:p>
                    <a:r>
                      <a:t>205.0</a:t>
                    </a:r>
                  </a:p>
                </c:rich>
              </c:tx>
              <c:showLegendKey val="0"/>
              <c:showVal val="1"/>
              <c:showCatName val="0"/>
              <c:showSerName val="0"/>
              <c:showPercent val="0"/>
              <c:showBubbleSize val="0"/>
            </c:dLbl>
            <c:dLbl>
              <c:idx val="11"/>
              <c:tx>
                <c:rich>
                  <a:bodyPr/>
                  <a:lstStyle/>
                  <a:p>
                    <a:r>
                      <a:t>105.0</a:t>
                    </a:r>
                  </a:p>
                </c:rich>
              </c:tx>
              <c:showLegendKey val="0"/>
              <c:showVal val="1"/>
              <c:showCatName val="0"/>
              <c:showSerName val="0"/>
              <c:showPercent val="0"/>
              <c:showBubbleSize val="0"/>
            </c:dLbl>
            <c:dLbl>
              <c:idx val="12"/>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Hawaiian Tropic After Sun After Sun Adults Cosmetics Gel 0 - 5 240Ml</c:v>
                </c:pt>
                <c:pt idx="1">
                  <c:v>Edgewell Hawaiian Tropic Carrot Tanning Adults Cosmetics Crema 10 - 14 240Ml</c:v>
                </c:pt>
                <c:pt idx="2">
                  <c:v>Edgewell Hawaiian Tropic Island Sport Sunscreen Adults Sport Liquido 50 60Ml</c:v>
                </c:pt>
                <c:pt idx="3">
                  <c:v>Edgewell Hawaiian Tropic Other Sunscreen Adults Cosmetics Crema 50+ 240Ml</c:v>
                </c:pt>
                <c:pt idx="4">
                  <c:v>Edgewell Hawaiian Tropic Ozono Sunscreen Adults Cosmetics Liquido 50+ 120Ml</c:v>
                </c:pt>
                <c:pt idx="5">
                  <c:v>Edgewell Hawaiian Tropic Ozono Sunscreen Adults Cosmetics Liquido 50+ 180Ml</c:v>
                </c:pt>
                <c:pt idx="6">
                  <c:v>Edgewell Hawaiian Tropic Ozono Sunscreen Adults Cosmetics Liquido 50+ 240Ml</c:v>
                </c:pt>
                <c:pt idx="7">
                  <c:v>Edgewell Hawaiian Tropic Ozono Sunscreen Adults Cosmetics Liquido 50+ 90Ml</c:v>
                </c:pt>
                <c:pt idx="8">
                  <c:v>Edgewell Hawaiian Tropic Ozono Sunscreen Adults Cosmetics Spray Liquido 50+ 180Ml</c:v>
                </c:pt>
                <c:pt idx="9">
                  <c:v>Edgewell Hawaiian Tropic Sheer Touch Sunscreen Adults Cosmetics Crema 30 - 49 240Ml</c:v>
                </c:pt>
                <c:pt idx="10">
                  <c:v>Edgewell Hawaiian Tropic Sheer Touch Sunscreen Adults Cosmetics Crema 50 120Ml</c:v>
                </c:pt>
                <c:pt idx="11">
                  <c:v>Edgewell Hawaiian Tropic Sheer Touch Sunscreen Adults Cosmetics Liquido 30 - 49 60Ml</c:v>
                </c:pt>
                <c:pt idx="12">
                  <c:v>Edgewell Hawaiian Tropic Tanning Sunscreen Adults Cosmetics Spray Liquido 15 - 19 220Ml</c:v>
                </c:pt>
              </c:strCache>
            </c:strRef>
          </c:cat>
          <c:val>
            <c:numRef>
              <c:f>Sheet1!$B$2:$B$14</c:f>
              <c:numCache>
                <c:formatCode>General</c:formatCode>
                <c:ptCount val="13"/>
                <c:pt idx="0">
                  <c:v>299.0</c:v>
                </c:pt>
                <c:pt idx="1">
                  <c:v>299.0</c:v>
                </c:pt>
                <c:pt idx="2">
                  <c:v>105.0</c:v>
                </c:pt>
                <c:pt idx="3">
                  <c:v>350.0</c:v>
                </c:pt>
                <c:pt idx="4">
                  <c:v>205.0</c:v>
                </c:pt>
                <c:pt idx="5">
                  <c:v>350.0</c:v>
                </c:pt>
                <c:pt idx="6">
                  <c:v>350.0</c:v>
                </c:pt>
                <c:pt idx="7">
                  <c:v>125.0</c:v>
                </c:pt>
                <c:pt idx="8">
                  <c:v>385.0</c:v>
                </c:pt>
                <c:pt idx="9">
                  <c:v>299.0</c:v>
                </c:pt>
                <c:pt idx="10">
                  <c:v>205.0</c:v>
                </c:pt>
                <c:pt idx="11">
                  <c:v>105.0</c:v>
                </c:pt>
                <c:pt idx="12">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335.0</a:t>
                    </a:r>
                  </a:p>
                </c:rich>
              </c:tx>
              <c:showLegendKey val="0"/>
              <c:showVal val="1"/>
              <c:showCatName val="0"/>
              <c:showSerName val="0"/>
              <c:showPercent val="0"/>
              <c:showBubbleSize val="0"/>
            </c:dLbl>
            <c:dLbl>
              <c:idx val="7"/>
              <c:tx>
                <c:rich>
                  <a:bodyPr/>
                  <a:lstStyle/>
                  <a:p>
                    <a:r>
                      <a:t>385.0</a:t>
                    </a:r>
                  </a:p>
                </c:rich>
              </c:tx>
              <c:showLegendKey val="0"/>
              <c:showVal val="1"/>
              <c:showCatName val="0"/>
              <c:showSerName val="0"/>
              <c:showPercent val="0"/>
              <c:showBubbleSize val="0"/>
            </c:dLbl>
            <c:dLbl>
              <c:idx val="8"/>
              <c:tx>
                <c:rich>
                  <a:bodyPr/>
                  <a:lstStyle/>
                  <a:p>
                    <a:r>
                      <a:t>305.0</a:t>
                    </a:r>
                  </a:p>
                </c:rich>
              </c:tx>
              <c:showLegendKey val="0"/>
              <c:showVal val="1"/>
              <c:showCatName val="0"/>
              <c:showSerName val="0"/>
              <c:showPercent val="0"/>
              <c:showBubbleSize val="0"/>
            </c:dLbl>
            <c:dLbl>
              <c:idx val="9"/>
              <c:tx>
                <c:rich>
                  <a:bodyPr/>
                  <a:lstStyle/>
                  <a:p>
                    <a:r>
                      <a:t>310.0</a:t>
                    </a:r>
                  </a:p>
                </c:rich>
              </c:tx>
              <c:showLegendKey val="0"/>
              <c:showVal val="1"/>
              <c:showCatName val="0"/>
              <c:showSerName val="0"/>
              <c:showPercent val="0"/>
              <c:showBubbleSize val="0"/>
            </c:dLbl>
            <c:dLbl>
              <c:idx val="10"/>
              <c:tx>
                <c:rich>
                  <a:bodyPr/>
                  <a:lstStyle/>
                  <a:p>
                    <a:r>
                      <a:t>24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Sport Crema 50+ 180Ml</c:v>
                </c:pt>
                <c:pt idx="7">
                  <c:v>Edgewell Banana Boat Dry Balance Sunscreen Adults Sport Spray Liquido 50 220Ml</c:v>
                </c:pt>
                <c:pt idx="8">
                  <c:v>Edgewell Banana Boat Kids Sport Sunscreen Kids Cosmetics Crema 50 180Ml</c:v>
                </c:pt>
                <c:pt idx="9">
                  <c:v>Edgewell Banana Boat Mineral Sunscreen Adults Cosmetics Locion 50 60Ml</c:v>
                </c:pt>
                <c:pt idx="10">
                  <c:v>Edgewell Banana Boat Mineral Sunscreen Kids Cosmetics Locion 50 180Ml</c:v>
                </c:pt>
              </c:strCache>
            </c:strRef>
          </c:cat>
          <c:val>
            <c:numRef>
              <c:f>Sheet1!$B$2:$B$12</c:f>
              <c:numCache>
                <c:formatCode>General</c:formatCode>
                <c:ptCount val="11"/>
                <c:pt idx="0">
                  <c:v>310.0</c:v>
                </c:pt>
                <c:pt idx="1">
                  <c:v>305.0</c:v>
                </c:pt>
                <c:pt idx="2">
                  <c:v>349.0</c:v>
                </c:pt>
                <c:pt idx="3">
                  <c:v>305.0</c:v>
                </c:pt>
                <c:pt idx="4">
                  <c:v>367.5</c:v>
                </c:pt>
                <c:pt idx="5">
                  <c:v>305.0</c:v>
                </c:pt>
                <c:pt idx="6">
                  <c:v>335.0</c:v>
                </c:pt>
                <c:pt idx="7">
                  <c:v>385.0</c:v>
                </c:pt>
                <c:pt idx="8">
                  <c:v>305.0</c:v>
                </c:pt>
                <c:pt idx="9">
                  <c:v>310.0</c:v>
                </c:pt>
                <c:pt idx="10">
                  <c:v>24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eauty Care Antioxidant Sunscreen Adults Cosmetics Liquido 50+ 50Ml</c:v>
                </c:pt>
                <c:pt idx="1">
                  <c:v>Edgewell Beauty Care Matte Sunscreen Adults Cosmetics Liquido 30 50Ml</c:v>
                </c:pt>
                <c:pt idx="2">
                  <c:v>Edgewell Beauty Care Sensitive Sunscreen Adults Cosmetics Liquido 50+ 50Ml</c:v>
                </c:pt>
              </c:strCache>
            </c:strRef>
          </c:cat>
          <c:val>
            <c:numRef>
              <c:f>Sheet1!$B$2:$B$4</c:f>
              <c:numCache>
                <c:formatCode>General</c:formatCode>
                <c:ptCount val="3"/>
                <c:pt idx="0">
                  <c:v>179.0</c:v>
                </c:pt>
                <c:pt idx="1">
                  <c:v>179.0</c:v>
                </c:pt>
                <c:pt idx="2">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After Sun After Sun Adults Cosmetics Gel 0 - 5 230Ml</c:v>
                </c:pt>
              </c:strCache>
            </c:strRef>
          </c:cat>
          <c:val>
            <c:numRef>
              <c:f>Sheet1!$B$2:$B$2</c:f>
              <c:numCache>
                <c:formatCode>General</c:formatCode>
                <c:ptCount val="1"/>
                <c:pt idx="0">
                  <c:v>10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0</a:t>
                    </a:r>
                  </a:p>
                </c:rich>
              </c:tx>
              <c:showLegendKey val="0"/>
              <c:showVal val="1"/>
              <c:showCatName val="0"/>
              <c:showSerName val="0"/>
              <c:showPercent val="0"/>
              <c:showBubbleSize val="0"/>
            </c:dLbl>
            <c:dLbl>
              <c:idx val="1"/>
              <c:tx>
                <c:rich>
                  <a:bodyPr/>
                  <a:lstStyle/>
                  <a:p>
                    <a:r>
                      <a:t>350.0</a:t>
                    </a:r>
                  </a:p>
                </c:rich>
              </c:tx>
              <c:showLegendKey val="0"/>
              <c:showVal val="1"/>
              <c:showCatName val="0"/>
              <c:showSerName val="0"/>
              <c:showPercent val="0"/>
              <c:showBubbleSize val="0"/>
            </c:dLbl>
            <c:dLbl>
              <c:idx val="2"/>
              <c:tx>
                <c:rich>
                  <a:bodyPr/>
                  <a:lstStyle/>
                  <a:p>
                    <a:r>
                      <a:t>205.0</a:t>
                    </a:r>
                  </a:p>
                </c:rich>
              </c:tx>
              <c:showLegendKey val="0"/>
              <c:showVal val="1"/>
              <c:showCatName val="0"/>
              <c:showSerName val="0"/>
              <c:showPercent val="0"/>
              <c:showBubbleSize val="0"/>
            </c:dLbl>
            <c:dLbl>
              <c:idx val="3"/>
              <c:tx>
                <c:rich>
                  <a:bodyPr/>
                  <a:lstStyle/>
                  <a:p>
                    <a:r>
                      <a:t>350.0</a:t>
                    </a:r>
                  </a:p>
                </c:rich>
              </c:tx>
              <c:showLegendKey val="0"/>
              <c:showVal val="1"/>
              <c:showCatName val="0"/>
              <c:showSerName val="0"/>
              <c:showPercent val="0"/>
              <c:showBubbleSize val="0"/>
            </c:dLbl>
            <c:dLbl>
              <c:idx val="4"/>
              <c:tx>
                <c:rich>
                  <a:bodyPr/>
                  <a:lstStyle/>
                  <a:p>
                    <a:r>
                      <a:t>350.0</a:t>
                    </a:r>
                  </a:p>
                </c:rich>
              </c:tx>
              <c:showLegendKey val="0"/>
              <c:showVal val="1"/>
              <c:showCatName val="0"/>
              <c:showSerName val="0"/>
              <c:showPercent val="0"/>
              <c:showBubbleSize val="0"/>
            </c:dLbl>
            <c:dLbl>
              <c:idx val="5"/>
              <c:tx>
                <c:rich>
                  <a:bodyPr/>
                  <a:lstStyle/>
                  <a:p>
                    <a:r>
                      <a:t>125.0</a:t>
                    </a:r>
                  </a:p>
                </c:rich>
              </c:tx>
              <c:showLegendKey val="0"/>
              <c:showVal val="1"/>
              <c:showCatName val="0"/>
              <c:showSerName val="0"/>
              <c:showPercent val="0"/>
              <c:showBubbleSize val="0"/>
            </c:dLbl>
            <c:dLbl>
              <c:idx val="6"/>
              <c:tx>
                <c:rich>
                  <a:bodyPr/>
                  <a:lstStyle/>
                  <a:p>
                    <a:r>
                      <a:t>385.0</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05.0</a:t>
                    </a:r>
                  </a:p>
                </c:rich>
              </c:tx>
              <c:showLegendKey val="0"/>
              <c:showVal val="1"/>
              <c:showCatName val="0"/>
              <c:showSerName val="0"/>
              <c:showPercent val="0"/>
              <c:showBubbleSize val="0"/>
            </c:dLbl>
            <c:dLbl>
              <c:idx val="9"/>
              <c:tx>
                <c:rich>
                  <a:bodyPr/>
                  <a:lstStyle/>
                  <a:p>
                    <a:r>
                      <a:t>105.0</a:t>
                    </a:r>
                  </a:p>
                </c:rich>
              </c:tx>
              <c:showLegendKey val="0"/>
              <c:showVal val="1"/>
              <c:showCatName val="0"/>
              <c:showSerName val="0"/>
              <c:showPercent val="0"/>
              <c:showBubbleSize val="0"/>
            </c:dLbl>
            <c:dLbl>
              <c:idx val="10"/>
              <c:tx>
                <c:rich>
                  <a:bodyPr/>
                  <a:lstStyle/>
                  <a:p>
                    <a:r>
                      <a:t>3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60Ml</c:v>
                </c:pt>
                <c:pt idx="1">
                  <c:v>Edgewell Hawaiian Tropic Other Sunscreen Adults Cosmetics Crema 50+ 240Ml</c:v>
                </c:pt>
                <c:pt idx="2">
                  <c:v>Edgewell Hawaiian Tropic Ozono Sunscreen Adults Cosmetics Liquido 50+ 120Ml</c:v>
                </c:pt>
                <c:pt idx="3">
                  <c:v>Edgewell Hawaiian Tropic Ozono Sunscreen Adults Cosmetics Liquido 50+ 180Ml</c:v>
                </c:pt>
                <c:pt idx="4">
                  <c:v>Edgewell Hawaiian Tropic Ozono Sunscreen Adults Cosmetics Liquido 50+ 240Ml</c:v>
                </c:pt>
                <c:pt idx="5">
                  <c:v>Edgewell Hawaiian Tropic Ozono Sunscreen Adults Cosmetics Liquido 50+ 90Ml</c:v>
                </c:pt>
                <c:pt idx="6">
                  <c:v>Edgewell Hawaiian Tropic Ozono Sunscreen Adults Cosmetics Spray Liquido 50+ 180Ml</c:v>
                </c:pt>
                <c:pt idx="7">
                  <c:v>Edgewell Hawaiian Tropic Sheer Touch Sunscreen Adults Cosmetics Crema 30 - 49 240Ml</c:v>
                </c:pt>
                <c:pt idx="8">
                  <c:v>Edgewell Hawaiian Tropic Sheer Touch Sunscreen Adults Cosmetics Crema 50 120Ml</c:v>
                </c:pt>
                <c:pt idx="9">
                  <c:v>Edgewell Hawaiian Tropic Sheer Touch Sunscreen Adults Cosmetics Liquido 30 - 49 60Ml</c:v>
                </c:pt>
                <c:pt idx="10">
                  <c:v>Edgewell Hawaiian Tropic Tanning Sunscreen Adults Cosmetics Spray Liquido 15 - 19 220Ml</c:v>
                </c:pt>
              </c:strCache>
            </c:strRef>
          </c:cat>
          <c:val>
            <c:numRef>
              <c:f>Sheet1!$B$2:$B$12</c:f>
              <c:numCache>
                <c:formatCode>General</c:formatCode>
                <c:ptCount val="11"/>
                <c:pt idx="0">
                  <c:v>105.0</c:v>
                </c:pt>
                <c:pt idx="1">
                  <c:v>350.0</c:v>
                </c:pt>
                <c:pt idx="2">
                  <c:v>205.0</c:v>
                </c:pt>
                <c:pt idx="3">
                  <c:v>350.0</c:v>
                </c:pt>
                <c:pt idx="4">
                  <c:v>350.0</c:v>
                </c:pt>
                <c:pt idx="5">
                  <c:v>125.0</c:v>
                </c:pt>
                <c:pt idx="6">
                  <c:v>385.0</c:v>
                </c:pt>
                <c:pt idx="7">
                  <c:v>299.0</c:v>
                </c:pt>
                <c:pt idx="8">
                  <c:v>205.0</c:v>
                </c:pt>
                <c:pt idx="9">
                  <c:v>105.0</c:v>
                </c:pt>
                <c:pt idx="10">
                  <c:v>3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05.0</a:t>
                    </a:r>
                  </a:p>
                </c:rich>
              </c:tx>
              <c:showLegendKey val="0"/>
              <c:showVal val="1"/>
              <c:showCatName val="0"/>
              <c:showSerName val="0"/>
              <c:showPercent val="0"/>
              <c:showBubbleSize val="0"/>
            </c:dLbl>
            <c:dLbl>
              <c:idx val="2"/>
              <c:tx>
                <c:rich>
                  <a:bodyPr/>
                  <a:lstStyle/>
                  <a:p>
                    <a:r>
                      <a:t>349.0</a:t>
                    </a:r>
                  </a:p>
                </c:rich>
              </c:tx>
              <c:showLegendKey val="0"/>
              <c:showVal val="1"/>
              <c:showCatName val="0"/>
              <c:showSerName val="0"/>
              <c:showPercent val="0"/>
              <c:showBubbleSize val="0"/>
            </c:dLbl>
            <c:dLbl>
              <c:idx val="3"/>
              <c:tx>
                <c:rich>
                  <a:bodyPr/>
                  <a:lstStyle/>
                  <a:p>
                    <a:r>
                      <a:t>305.0</a:t>
                    </a:r>
                  </a:p>
                </c:rich>
              </c:tx>
              <c:showLegendKey val="0"/>
              <c:showVal val="1"/>
              <c:showCatName val="0"/>
              <c:showSerName val="0"/>
              <c:showPercent val="0"/>
              <c:showBubbleSize val="0"/>
            </c:dLbl>
            <c:dLbl>
              <c:idx val="4"/>
              <c:tx>
                <c:rich>
                  <a:bodyPr/>
                  <a:lstStyle/>
                  <a:p>
                    <a:r>
                      <a:t>367.5</a:t>
                    </a:r>
                  </a:p>
                </c:rich>
              </c:tx>
              <c:showLegendKey val="0"/>
              <c:showVal val="1"/>
              <c:showCatName val="0"/>
              <c:showSerName val="0"/>
              <c:showPercent val="0"/>
              <c:showBubbleSize val="0"/>
            </c:dLbl>
            <c:dLbl>
              <c:idx val="5"/>
              <c:tx>
                <c:rich>
                  <a:bodyPr/>
                  <a:lstStyle/>
                  <a:p>
                    <a:r>
                      <a:t>305.0</a:t>
                    </a:r>
                  </a:p>
                </c:rich>
              </c:tx>
              <c:showLegendKey val="0"/>
              <c:showVal val="1"/>
              <c:showCatName val="0"/>
              <c:showSerName val="0"/>
              <c:showPercent val="0"/>
              <c:showBubbleSize val="0"/>
            </c:dLbl>
            <c:dLbl>
              <c:idx val="6"/>
              <c:tx>
                <c:rich>
                  <a:bodyPr/>
                  <a:lstStyle/>
                  <a:p>
                    <a:r>
                      <a:t>249.0</a:t>
                    </a:r>
                  </a:p>
                </c:rich>
              </c:tx>
              <c:showLegendKey val="0"/>
              <c:showVal val="1"/>
              <c:showCatName val="0"/>
              <c:showSerName val="0"/>
              <c:showPercent val="0"/>
              <c:showBubbleSize val="0"/>
            </c:dLbl>
            <c:dLbl>
              <c:idx val="7"/>
              <c:tx>
                <c:rich>
                  <a:bodyPr/>
                  <a:lstStyle/>
                  <a:p>
                    <a:r>
                      <a:t>335.0</a:t>
                    </a:r>
                  </a:p>
                </c:rich>
              </c:tx>
              <c:showLegendKey val="0"/>
              <c:showVal val="1"/>
              <c:showCatName val="0"/>
              <c:showSerName val="0"/>
              <c:showPercent val="0"/>
              <c:showBubbleSize val="0"/>
            </c:dLbl>
            <c:dLbl>
              <c:idx val="8"/>
              <c:tx>
                <c:rich>
                  <a:bodyPr/>
                  <a:lstStyle/>
                  <a:p>
                    <a:r>
                      <a:t>385.0</a:t>
                    </a:r>
                  </a:p>
                </c:rich>
              </c:tx>
              <c:showLegendKey val="0"/>
              <c:showVal val="1"/>
              <c:showCatName val="0"/>
              <c:showSerName val="0"/>
              <c:showPercent val="0"/>
              <c:showBubbleSize val="0"/>
            </c:dLbl>
            <c:dLbl>
              <c:idx val="9"/>
              <c:tx>
                <c:rich>
                  <a:bodyPr/>
                  <a:lstStyle/>
                  <a:p>
                    <a:r>
                      <a:t>305.0</a:t>
                    </a:r>
                  </a:p>
                </c:rich>
              </c:tx>
              <c:showLegendKey val="0"/>
              <c:showVal val="1"/>
              <c:showCatName val="0"/>
              <c:showSerName val="0"/>
              <c:showPercent val="0"/>
              <c:showBubbleSize val="0"/>
            </c:dLbl>
            <c:dLbl>
              <c:idx val="10"/>
              <c:tx>
                <c:rich>
                  <a:bodyPr/>
                  <a:lstStyle/>
                  <a:p>
                    <a:r>
                      <a:t>310.0</a:t>
                    </a:r>
                  </a:p>
                </c:rich>
              </c:tx>
              <c:showLegendKey val="0"/>
              <c:showVal val="1"/>
              <c:showCatName val="0"/>
              <c:showSerName val="0"/>
              <c:showPercent val="0"/>
              <c:showBubbleSize val="0"/>
            </c:dLbl>
            <c:dLbl>
              <c:idx val="11"/>
              <c:tx>
                <c:rich>
                  <a:bodyPr/>
                  <a:lstStyle/>
                  <a:p>
                    <a:r>
                      <a:t>249.0</a:t>
                    </a:r>
                  </a:p>
                </c:rich>
              </c:tx>
              <c:showLegendKey val="0"/>
              <c:showVal val="1"/>
              <c:showCatName val="0"/>
              <c:showSerName val="0"/>
              <c:showPercent val="0"/>
              <c:showBubbleSize val="0"/>
            </c:dLbl>
            <c:dLbl>
              <c:idx val="12"/>
              <c:tx>
                <c:rich>
                  <a:bodyPr/>
                  <a:lstStyle/>
                  <a:p>
                    <a:r>
                      <a:t>242.0</a:t>
                    </a:r>
                  </a:p>
                </c:rich>
              </c:tx>
              <c:showLegendKey val="0"/>
              <c:showVal val="1"/>
              <c:showCatName val="0"/>
              <c:showSerName val="0"/>
              <c:showPercent val="0"/>
              <c:showBubbleSize val="0"/>
            </c:dLbl>
            <c:dLbl>
              <c:idx val="13"/>
              <c:tx>
                <c:rich>
                  <a:bodyPr/>
                  <a:lstStyle/>
                  <a:p>
                    <a:r>
                      <a:t>2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dvanced Protection Sunscreen Adults Cosmetics Liquido 50+ 240Ml</c:v>
                </c:pt>
                <c:pt idx="1">
                  <c:v>Edgewell Banana Boat Aqua Protect Sunscreen Adults Cosmetics Crema 50+ 236Ml</c:v>
                </c:pt>
                <c:pt idx="2">
                  <c:v>Edgewell Banana Boat Aqua Protect Sunscreen Adults Cosmetics Spray Liquido 50+ 170Ml</c:v>
                </c:pt>
                <c:pt idx="3">
                  <c:v>Edgewell Banana Boat Aqua Protect Sunscreen Adults Sport Crema 50+ 236Ml</c:v>
                </c:pt>
                <c:pt idx="4">
                  <c:v>Edgewell Banana Boat Banded Pack Banded Pack 2X Sunscreen Multi 50+ 170Ml</c:v>
                </c:pt>
                <c:pt idx="5">
                  <c:v>Edgewell Banana Boat Banded Pack Banded Pack 2X Sunscreen Multi 50+ 236Ml</c:v>
                </c:pt>
                <c:pt idx="6">
                  <c:v>Edgewell Banana Boat Dry Balance Sunscreen Adults Cosmetics Spray Crema 50+ 220Ml</c:v>
                </c:pt>
                <c:pt idx="7">
                  <c:v>Edgewell Banana Boat Dry Balance Sunscreen Adults Sport Crema 50+ 180Ml</c:v>
                </c:pt>
                <c:pt idx="8">
                  <c:v>Edgewell Banana Boat Dry Balance Sunscreen Adults Sport Spray Liquido 50 220Ml</c:v>
                </c:pt>
                <c:pt idx="9">
                  <c:v>Edgewell Banana Boat Kids Sport Sunscreen Kids Cosmetics Crema 50 180Ml</c:v>
                </c:pt>
                <c:pt idx="10">
                  <c:v>Edgewell Banana Boat Mineral Sunscreen Adults Cosmetics Locion 50 60Ml</c:v>
                </c:pt>
                <c:pt idx="11">
                  <c:v>Edgewell Banana Boat Mineral Sunscreen Adults Sport Locion 50 180Ml</c:v>
                </c:pt>
                <c:pt idx="12">
                  <c:v>Edgewell Banana Boat Mineral Sunscreen Kids Cosmetics Locion 50 180Ml</c:v>
                </c:pt>
                <c:pt idx="13">
                  <c:v>Edgewell Banana Boat Ultra Sunscreen Adults Sport Roll-On 60+ 75Ml</c:v>
                </c:pt>
              </c:strCache>
            </c:strRef>
          </c:cat>
          <c:val>
            <c:numRef>
              <c:f>Sheet1!$B$2:$B$15</c:f>
              <c:numCache>
                <c:formatCode>General</c:formatCode>
                <c:ptCount val="14"/>
                <c:pt idx="0">
                  <c:v>310.0</c:v>
                </c:pt>
                <c:pt idx="1">
                  <c:v>305.0</c:v>
                </c:pt>
                <c:pt idx="2">
                  <c:v>349.0</c:v>
                </c:pt>
                <c:pt idx="3">
                  <c:v>305.0</c:v>
                </c:pt>
                <c:pt idx="4">
                  <c:v>367.5</c:v>
                </c:pt>
                <c:pt idx="5">
                  <c:v>305.0</c:v>
                </c:pt>
                <c:pt idx="6">
                  <c:v>249.0</c:v>
                </c:pt>
                <c:pt idx="7">
                  <c:v>335.0</c:v>
                </c:pt>
                <c:pt idx="8">
                  <c:v>385.0</c:v>
                </c:pt>
                <c:pt idx="9">
                  <c:v>305.0</c:v>
                </c:pt>
                <c:pt idx="10">
                  <c:v>310.0</c:v>
                </c:pt>
                <c:pt idx="11">
                  <c:v>249.0</c:v>
                </c:pt>
                <c:pt idx="12">
                  <c:v>242.0</c:v>
                </c:pt>
                <c:pt idx="13">
                  <c:v>2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179.0</a:t>
                    </a:r>
                  </a:p>
                </c:rich>
              </c:tx>
              <c:showLegendKey val="0"/>
              <c:showVal val="1"/>
              <c:showCatName val="0"/>
              <c:showSerName val="0"/>
              <c:showPercent val="0"/>
              <c:showBubbleSize val="0"/>
            </c:dLbl>
            <c:dLbl>
              <c:idx val="2"/>
              <c:tx>
                <c:rich>
                  <a:bodyPr/>
                  <a:lstStyle/>
                  <a:p>
                    <a:r>
                      <a:t>179.0</a:t>
                    </a:r>
                  </a:p>
                </c:rich>
              </c:tx>
              <c:showLegendKey val="0"/>
              <c:showVal val="1"/>
              <c:showCatName val="0"/>
              <c:showSerName val="0"/>
              <c:showPercent val="0"/>
              <c:showBubbleSize val="0"/>
            </c:dLbl>
            <c:dLbl>
              <c:idx val="3"/>
              <c:tx>
                <c:rich>
                  <a:bodyPr/>
                  <a:lstStyle/>
                  <a:p>
                    <a:r>
                      <a:t>17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15 - 19 100Ml</c:v>
                </c:pt>
                <c:pt idx="1">
                  <c:v>Edgewell Beauty Care Antioxidant Sunscreen Adults Cosmetics Liquido 50+ 50Ml</c:v>
                </c:pt>
                <c:pt idx="2">
                  <c:v>Edgewell Beauty Care Matte Sunscreen Adults Cosmetics Liquido 30 50Ml</c:v>
                </c:pt>
                <c:pt idx="3">
                  <c:v>Edgewell Beauty Care Sensitive Sunscreen Adults Cosmetics Liquido 50+ 50Ml</c:v>
                </c:pt>
              </c:strCache>
            </c:strRef>
          </c:cat>
          <c:val>
            <c:numRef>
              <c:f>Sheet1!$B$2:$B$5</c:f>
              <c:numCache>
                <c:formatCode>General</c:formatCode>
                <c:ptCount val="4"/>
                <c:pt idx="0">
                  <c:v>240.0</c:v>
                </c:pt>
                <c:pt idx="1">
                  <c:v>179.0</c:v>
                </c:pt>
                <c:pt idx="2">
                  <c:v>179.0</c:v>
                </c:pt>
                <c:pt idx="3">
                  <c:v>17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06/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6/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6/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6/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6/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3.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0.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2.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3.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2.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5.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6.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8.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0.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2.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xml"/></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4.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6.xml"/></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7.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9.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0.xml"/></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1.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3.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4.xml"/></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6.xml"/></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7.xml"/></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8.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xml"/></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2.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4.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5.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6.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7.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8.xml"/></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9.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1.xml"/></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2.xml"/></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3.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5.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6.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7.xml"/></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8.xml"/></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0.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1.xml"/></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2.xml"/></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3.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5.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7.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8.xml"/></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9.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0.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1.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3.xml"/></Relationships>
</file>

<file path=ppt/slides/_rels/slide214.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4.xml"/></Relationships>
</file>

<file path=ppt/slides/_rels/slide216.xml.rels><?xml version='1.0' encoding='UTF-8' standalone='yes'?>
<Relationships xmlns="http://schemas.openxmlformats.org/package/2006/relationships"><Relationship Id="rId1" Type="http://schemas.openxmlformats.org/officeDocument/2006/relationships/tags" Target="../tags/tag2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6.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8.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9.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20.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0.xml"/></Relationships>
</file>

<file path=ppt/slides/_rels/slide221.xml.rels><?xml version='1.0' encoding='UTF-8' standalone='yes'?>
<Relationships xmlns="http://schemas.openxmlformats.org/package/2006/relationships"><Relationship Id="rId1" Type="http://schemas.openxmlformats.org/officeDocument/2006/relationships/tags" Target="../tags/tag2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1.xml"/></Relationships>
</file>

<file path=ppt/slides/_rels/slide222.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2.xml"/></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3.xml"/></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4.xml"/></Relationships>
</file>

<file path=ppt/slides/_rels/slide225.xml.rels><?xml version='1.0' encoding='UTF-8' standalone='yes'?>
<Relationships xmlns="http://schemas.openxmlformats.org/package/2006/relationships"><Relationship Id="rId1" Type="http://schemas.openxmlformats.org/officeDocument/2006/relationships/tags" Target="../tags/tag2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5.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6.xml"/></Relationships>
</file>

<file path=ppt/slides/_rels/slide227.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7.xml"/></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9.xml"/></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0.xml"/></Relationships>
</file>

<file path=ppt/slides/_rels/slide231.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1.xml"/></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2.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4.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5.xml"/></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6.xml"/></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7.xml"/></Relationships>
</file>

<file path=ppt/slides/_rels/slide238.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8.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1.xml"/></Relationships>
</file>

<file path=ppt/slides/_rels/slide242.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2.xml"/></Relationships>
</file>

<file path=ppt/slides/_rels/slide243.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3.xml"/></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5.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7.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8.xml"/></Relationships>
</file>

<file path=ppt/slides/_rels/slide249.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9.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1.xml"/></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2.xml"/></Relationships>
</file>

<file path=ppt/slides/_rels/slide253.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3.xml"/></Relationships>
</file>

<file path=ppt/slides/_rels/slide254.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4.xml"/></Relationships>
</file>

<file path=ppt/slides/_rels/slide256.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6.xml"/></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8.xml"/></Relationships>
</file>

<file path=ppt/slides/_rels/slide259.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60.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0.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2.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4.xml"/></Relationships>
</file>

<file path=ppt/slides/_rels/slide265.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5.xml"/></Relationships>
</file>

<file path=ppt/slides/_rels/slide266.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6.xml"/></Relationships>
</file>

<file path=ppt/slides/_rels/slide267.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7.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9.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0.xml"/></Relationships>
</file>

<file path=ppt/slides/_rels/slide271.xml.rels><?xml version='1.0' encoding='UTF-8' standalone='yes'?>
<Relationships xmlns="http://schemas.openxmlformats.org/package/2006/relationships"><Relationship Id="rId1" Type="http://schemas.openxmlformats.org/officeDocument/2006/relationships/tags" Target="../tags/tag2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1.xml"/></Relationships>
</file>

<file path=ppt/slides/_rels/slide272.xml.rels><?xml version='1.0' encoding='UTF-8' standalone='yes'?>
<Relationships xmlns="http://schemas.openxmlformats.org/package/2006/relationships"><Relationship Id="rId1" Type="http://schemas.openxmlformats.org/officeDocument/2006/relationships/tags" Target="../tags/tag2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2.xml"/></Relationships>
</file>

<file path=ppt/slides/_rels/slide273.xml.rels><?xml version='1.0' encoding='UTF-8' standalone='yes'?>
<Relationships xmlns="http://schemas.openxmlformats.org/package/2006/relationships"><Relationship Id="rId1" Type="http://schemas.openxmlformats.org/officeDocument/2006/relationships/tags" Target="../tags/tag3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xml"/></Relationships>
</file>

<file path=ppt/slides/_rels/slide274.xml.rels><?xml version='1.0' encoding='UTF-8' standalone='yes'?>
<Relationships xmlns="http://schemas.openxmlformats.org/package/2006/relationships"><Relationship Id="rId1" Type="http://schemas.openxmlformats.org/officeDocument/2006/relationships/tags" Target="../tags/tag3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4.xml"/></Relationships>
</file>

<file path=ppt/slides/_rels/slide275.xml.rels><?xml version='1.0' encoding='UTF-8' standalone='yes'?>
<Relationships xmlns="http://schemas.openxmlformats.org/package/2006/relationships"><Relationship Id="rId1" Type="http://schemas.openxmlformats.org/officeDocument/2006/relationships/tags" Target="../tags/tag3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5.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6.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7.xml"/></Relationships>
</file>

<file path=ppt/slides/_rels/slide278.xml.rels><?xml version='1.0' encoding='UTF-8' standalone='yes'?>
<Relationships xmlns="http://schemas.openxmlformats.org/package/2006/relationships"><Relationship Id="rId1" Type="http://schemas.openxmlformats.org/officeDocument/2006/relationships/tags" Target="../tags/tag3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8.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80.xml.rels><?xml version='1.0' encoding='UTF-8' standalone='yes'?>
<Relationships xmlns="http://schemas.openxmlformats.org/package/2006/relationships"><Relationship Id="rId1" Type="http://schemas.openxmlformats.org/officeDocument/2006/relationships/tags" Target="../tags/tag3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0.xml"/></Relationships>
</file>

<file path=ppt/slides/_rels/slide281.xml.rels><?xml version='1.0' encoding='UTF-8' standalone='yes'?>
<Relationships xmlns="http://schemas.openxmlformats.org/package/2006/relationships"><Relationship Id="rId1" Type="http://schemas.openxmlformats.org/officeDocument/2006/relationships/tags" Target="../tags/tag3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1.xml"/></Relationships>
</file>

<file path=ppt/slides/_rels/slide282.xml.rels><?xml version='1.0' encoding='UTF-8' standalone='yes'?>
<Relationships xmlns="http://schemas.openxmlformats.org/package/2006/relationships"><Relationship Id="rId1" Type="http://schemas.openxmlformats.org/officeDocument/2006/relationships/tags" Target="../tags/tag3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2.xml"/></Relationships>
</file>

<file path=ppt/slides/_rels/slide283.xml.rels><?xml version='1.0' encoding='UTF-8' standalone='yes'?>
<Relationships xmlns="http://schemas.openxmlformats.org/package/2006/relationships"><Relationship Id="rId1" Type="http://schemas.openxmlformats.org/officeDocument/2006/relationships/tags" Target="../tags/tag3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3.xml"/></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5.xml"/></Relationships>
</file>

<file path=ppt/slides/_rels/slide287.xml.rels><?xml version='1.0' encoding='UTF-8' standalone='yes'?>
<Relationships xmlns="http://schemas.openxmlformats.org/package/2006/relationships"><Relationship Id="rId1" Type="http://schemas.openxmlformats.org/officeDocument/2006/relationships/tags" Target="../tags/tag3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xml"/></Relationships>
</file>

<file path=ppt/slides/_rels/slide288.xml.rels><?xml version='1.0' encoding='UTF-8' standalone='yes'?>
<Relationships xmlns="http://schemas.openxmlformats.org/package/2006/relationships"><Relationship Id="rId1" Type="http://schemas.openxmlformats.org/officeDocument/2006/relationships/tags" Target="../tags/tag3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8.xml"/></Relationships>
</file>

<file path=ppt/slides/_rels/slide289.xml.rels><?xml version='1.0' encoding='UTF-8' standalone='yes'?>
<Relationships xmlns="http://schemas.openxmlformats.org/package/2006/relationships"><Relationship Id="rId1" Type="http://schemas.openxmlformats.org/officeDocument/2006/relationships/tags" Target="../tags/tag3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1.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2.xml"/></Relationships>
</file>

<file path=ppt/slides/_rels/slide293.xml.rels><?xml version='1.0' encoding='UTF-8' standalone='yes'?>
<Relationships xmlns="http://schemas.openxmlformats.org/package/2006/relationships"><Relationship Id="rId1" Type="http://schemas.openxmlformats.org/officeDocument/2006/relationships/tags" Target="../tags/tag3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3.xml"/></Relationships>
</file>

<file path=ppt/slides/_rels/slide294.xml.rels><?xml version='1.0' encoding='UTF-8' standalone='yes'?>
<Relationships xmlns="http://schemas.openxmlformats.org/package/2006/relationships"><Relationship Id="rId1" Type="http://schemas.openxmlformats.org/officeDocument/2006/relationships/tags" Target="../tags/tag3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4.xml"/></Relationships>
</file>

<file path=ppt/slides/_rels/slide295.xml.rels><?xml version='1.0' encoding='UTF-8' standalone='yes'?>
<Relationships xmlns="http://schemas.openxmlformats.org/package/2006/relationships"><Relationship Id="rId1" Type="http://schemas.openxmlformats.org/officeDocument/2006/relationships/tags" Target="../tags/tag3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xml"/></Relationships>
</file>

<file path=ppt/slides/_rels/slide296.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6.xml"/></Relationships>
</file>

<file path=ppt/slides/_rels/slide297.xml.rels><?xml version='1.0' encoding='UTF-8' standalone='yes'?>
<Relationships xmlns="http://schemas.openxmlformats.org/package/2006/relationships"><Relationship Id="rId1" Type="http://schemas.openxmlformats.org/officeDocument/2006/relationships/tags" Target="../tags/tag3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7.xml"/></Relationships>
</file>

<file path=ppt/slides/_rels/slide298.xml.rels><?xml version='1.0' encoding='UTF-8' standalone='yes'?>
<Relationships xmlns="http://schemas.openxmlformats.org/package/2006/relationships"><Relationship Id="rId1" Type="http://schemas.openxmlformats.org/officeDocument/2006/relationships/tags" Target="../tags/tag3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xml"/></Relationships>
</file>

<file path=ppt/slides/_rels/slide299.xml.rels><?xml version='1.0' encoding='UTF-8' standalone='yes'?>
<Relationships xmlns="http://schemas.openxmlformats.org/package/2006/relationships"><Relationship Id="rId1" Type="http://schemas.openxmlformats.org/officeDocument/2006/relationships/tags" Target="../tags/tag3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1.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2.xml"/></Relationships>
</file>

<file path=ppt/slides/_rels/slide303.xml.rels><?xml version='1.0' encoding='UTF-8' standalone='yes'?>
<Relationships xmlns="http://schemas.openxmlformats.org/package/2006/relationships"><Relationship Id="rId1" Type="http://schemas.openxmlformats.org/officeDocument/2006/relationships/tags" Target="../tags/tag3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3.xml"/></Relationships>
</file>

<file path=ppt/slides/_rels/slide305.xml.rels><?xml version='1.0' encoding='UTF-8' standalone='yes'?>
<Relationships xmlns="http://schemas.openxmlformats.org/package/2006/relationships"><Relationship Id="rId1" Type="http://schemas.openxmlformats.org/officeDocument/2006/relationships/tags" Target="../tags/tag3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5.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7.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8.xml"/></Relationships>
</file>

<file path=ppt/slides/_rels/slide309.xml.rels><?xml version='1.0' encoding='UTF-8' standalone='yes'?>
<Relationships xmlns="http://schemas.openxmlformats.org/package/2006/relationships"><Relationship Id="rId1" Type="http://schemas.openxmlformats.org/officeDocument/2006/relationships/tags" Target="../tags/tag3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9.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10.xml.rels><?xml version='1.0' encoding='UTF-8' standalone='yes'?>
<Relationships xmlns="http://schemas.openxmlformats.org/package/2006/relationships"><Relationship Id="rId1" Type="http://schemas.openxmlformats.org/officeDocument/2006/relationships/tags" Target="../tags/tag3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0.xml"/></Relationships>
</file>

<file path=ppt/slides/_rels/slide312.xml.rels><?xml version='1.0' encoding='UTF-8' standalone='yes'?>
<Relationships xmlns="http://schemas.openxmlformats.org/package/2006/relationships"><Relationship Id="rId1" Type="http://schemas.openxmlformats.org/officeDocument/2006/relationships/tags" Target="../tags/tag3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2.xml"/></Relationships>
</file>

<file path=ppt/slides/_rels/slide313.xml.rels><?xml version='1.0' encoding='UTF-8' standalone='yes'?>
<Relationships xmlns="http://schemas.openxmlformats.org/package/2006/relationships"><Relationship Id="rId1" Type="http://schemas.openxmlformats.org/officeDocument/2006/relationships/tags" Target="../tags/tag3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3.xml"/></Relationships>
</file>

<file path=ppt/slides/_rels/slide314.xml.rels><?xml version='1.0' encoding='UTF-8' standalone='yes'?>
<Relationships xmlns="http://schemas.openxmlformats.org/package/2006/relationships"><Relationship Id="rId1" Type="http://schemas.openxmlformats.org/officeDocument/2006/relationships/tags" Target="../tags/tag3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4.xml"/></Relationships>
</file>

<file path=ppt/slides/_rels/slide316.xml.rels><?xml version='1.0' encoding='UTF-8' standalone='yes'?>
<Relationships xmlns="http://schemas.openxmlformats.org/package/2006/relationships"><Relationship Id="rId1" Type="http://schemas.openxmlformats.org/officeDocument/2006/relationships/tags" Target="../tags/tag3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6.xml"/></Relationships>
</file>

<file path=ppt/slides/_rels/slide318.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8.xml"/></Relationships>
</file>

<file path=ppt/slides/_rels/slide319.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9.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20.xml.rels><?xml version='1.0' encoding='UTF-8' standalone='yes'?>
<Relationships xmlns="http://schemas.openxmlformats.org/package/2006/relationships"><Relationship Id="rId1" Type="http://schemas.openxmlformats.org/officeDocument/2006/relationships/tags" Target="../tags/tag3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0.xml"/></Relationships>
</file>

<file path=ppt/slides/_rels/slide321.xml.rels><?xml version='1.0' encoding='UTF-8' standalone='yes'?>
<Relationships xmlns="http://schemas.openxmlformats.org/package/2006/relationships"><Relationship Id="rId1" Type="http://schemas.openxmlformats.org/officeDocument/2006/relationships/tags" Target="../tags/tag3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1.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3.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4.xml"/></Relationships>
</file>

<file path=ppt/slides/_rels/slide325.xml.rels><?xml version='1.0' encoding='UTF-8' standalone='yes'?>
<Relationships xmlns="http://schemas.openxmlformats.org/package/2006/relationships"><Relationship Id="rId1" Type="http://schemas.openxmlformats.org/officeDocument/2006/relationships/tags" Target="../tags/tag3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5.xml"/></Relationships>
</file>

<file path=ppt/slides/_rels/slide326.xml.rels><?xml version='1.0' encoding='UTF-8' standalone='yes'?>
<Relationships xmlns="http://schemas.openxmlformats.org/package/2006/relationships"><Relationship Id="rId1" Type="http://schemas.openxmlformats.org/officeDocument/2006/relationships/tags" Target="../tags/tag3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6.xml"/></Relationships>
</file>

<file path=ppt/slides/_rels/slide327.xml.rels><?xml version='1.0' encoding='UTF-8' standalone='yes'?>
<Relationships xmlns="http://schemas.openxmlformats.org/package/2006/relationships"><Relationship Id="rId1" Type="http://schemas.openxmlformats.org/officeDocument/2006/relationships/tags" Target="../tags/tag3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7.xml"/></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9.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0.xml"/></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1.xml"/></Relationships>
</file>

<file path=ppt/slides/_rels/slide332.xml.rels><?xml version='1.0' encoding='UTF-8' standalone='yes'?>
<Relationships xmlns="http://schemas.openxmlformats.org/package/2006/relationships"><Relationship Id="rId1" Type="http://schemas.openxmlformats.org/officeDocument/2006/relationships/tags" Target="../tags/tag3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2.xml"/></Relationships>
</file>

<file path=ppt/slides/_rels/slide334.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4.xml"/></Relationships>
</file>

<file path=ppt/slides/_rels/slide335.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5.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6.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7.xml"/></Relationships>
</file>

<file path=ppt/slides/_rels/slide338.xml.rels><?xml version='1.0' encoding='UTF-8' standalone='yes'?>
<Relationships xmlns="http://schemas.openxmlformats.org/package/2006/relationships"><Relationship Id="rId1" Type="http://schemas.openxmlformats.org/officeDocument/2006/relationships/tags" Target="../tags/tag3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8.xml"/></Relationships>
</file>

<file path=ppt/slides/_rels/slide339.xml.rels><?xml version='1.0' encoding='UTF-8' standalone='yes'?>
<Relationships xmlns="http://schemas.openxmlformats.org/package/2006/relationships"><Relationship Id="rId1" Type="http://schemas.openxmlformats.org/officeDocument/2006/relationships/tags" Target="../tags/tag3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9.xml"/></Relationships>
</file>

<file path=ppt/slides/_rels/slide340.xml.rels><?xml version='1.0' encoding='UTF-8' standalone='yes'?>
<Relationships xmlns="http://schemas.openxmlformats.org/package/2006/relationships"><Relationship Id="rId1" Type="http://schemas.openxmlformats.org/officeDocument/2006/relationships/tags" Target="../tags/tag3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0.xml"/></Relationships>
</file>

<file path=ppt/slides/_rels/slide341.xml.rels><?xml version='1.0' encoding='UTF-8' standalone='yes'?>
<Relationships xmlns="http://schemas.openxmlformats.org/package/2006/relationships"><Relationship Id="rId1" Type="http://schemas.openxmlformats.org/officeDocument/2006/relationships/tags" Target="../tags/tag3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1.xml"/></Relationships>
</file>

<file path=ppt/slides/_rels/slide342.xml.rels><?xml version='1.0' encoding='UTF-8' standalone='yes'?>
<Relationships xmlns="http://schemas.openxmlformats.org/package/2006/relationships"><Relationship Id="rId1" Type="http://schemas.openxmlformats.org/officeDocument/2006/relationships/tags" Target="../tags/tag3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2.xml"/></Relationships>
</file>

<file path=ppt/slides/_rels/slide343.xml.rels><?xml version='1.0' encoding='UTF-8' standalone='yes'?>
<Relationships xmlns="http://schemas.openxmlformats.org/package/2006/relationships"><Relationship Id="rId1" Type="http://schemas.openxmlformats.org/officeDocument/2006/relationships/tags" Target="../tags/tag3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3.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5.xml"/></Relationships>
</file>

<file path=ppt/slides/_rels/slide347.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7.xml"/></Relationships>
</file>

<file path=ppt/slides/_rels/slide348.xml.rels><?xml version='1.0' encoding='UTF-8' standalone='yes'?>
<Relationships xmlns="http://schemas.openxmlformats.org/package/2006/relationships"><Relationship Id="rId1" Type="http://schemas.openxmlformats.org/officeDocument/2006/relationships/tags" Target="../tags/tag3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8.xml"/></Relationships>
</file>

<file path=ppt/slides/_rels/slide349.xml.rels><?xml version='1.0' encoding='UTF-8' standalone='yes'?>
<Relationships xmlns="http://schemas.openxmlformats.org/package/2006/relationships"><Relationship Id="rId1" Type="http://schemas.openxmlformats.org/officeDocument/2006/relationships/tags" Target="../tags/tag3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9.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50.xml.rels><?xml version='1.0' encoding='UTF-8' standalone='yes'?>
<Relationships xmlns="http://schemas.openxmlformats.org/package/2006/relationships"><Relationship Id="rId1" Type="http://schemas.openxmlformats.org/officeDocument/2006/relationships/tags" Target="../tags/tag3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0.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1.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2.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3.xml"/></Relationships>
</file>

<file path=ppt/slides/_rels/slide354.xml.rels><?xml version='1.0' encoding='UTF-8' standalone='yes'?>
<Relationships xmlns="http://schemas.openxmlformats.org/package/2006/relationships"><Relationship Id="rId1" Type="http://schemas.openxmlformats.org/officeDocument/2006/relationships/tags" Target="../tags/tag3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4.xml"/></Relationships>
</file>

<file path=ppt/slides/_rels/slide356.xml.rels><?xml version='1.0' encoding='UTF-8' standalone='yes'?>
<Relationships xmlns="http://schemas.openxmlformats.org/package/2006/relationships"><Relationship Id="rId1" Type="http://schemas.openxmlformats.org/officeDocument/2006/relationships/tags" Target="../tags/tag3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6.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8.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9.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60.xml.rels><?xml version='1.0' encoding='UTF-8' standalone='yes'?>
<Relationships xmlns="http://schemas.openxmlformats.org/package/2006/relationships"><Relationship Id="rId1" Type="http://schemas.openxmlformats.org/officeDocument/2006/relationships/tags" Target="../tags/tag3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0.xml"/></Relationships>
</file>

<file path=ppt/slides/_rels/slide361.xml.rels><?xml version='1.0' encoding='UTF-8' standalone='yes'?>
<Relationships xmlns="http://schemas.openxmlformats.org/package/2006/relationships"><Relationship Id="rId1" Type="http://schemas.openxmlformats.org/officeDocument/2006/relationships/tags" Target="../tags/tag3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1.xml"/></Relationships>
</file>

<file path=ppt/slides/_rels/slide362.xml.rels><?xml version='1.0' encoding='UTF-8' standalone='yes'?>
<Relationships xmlns="http://schemas.openxmlformats.org/package/2006/relationships"><Relationship Id="rId1" Type="http://schemas.openxmlformats.org/officeDocument/2006/relationships/tags" Target="../tags/tag3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2.xml"/></Relationships>
</file>

<file path=ppt/slides/_rels/slide363.xml.rels><?xml version='1.0' encoding='UTF-8' standalone='yes'?>
<Relationships xmlns="http://schemas.openxmlformats.org/package/2006/relationships"><Relationship Id="rId1" Type="http://schemas.openxmlformats.org/officeDocument/2006/relationships/tags" Target="../tags/tag3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3.xml"/></Relationships>
</file>

<file path=ppt/slides/_rels/slide364.xml.rels><?xml version='1.0' encoding='UTF-8' standalone='yes'?>
<Relationships xmlns="http://schemas.openxmlformats.org/package/2006/relationships"><Relationship Id="rId1" Type="http://schemas.openxmlformats.org/officeDocument/2006/relationships/tags" Target="../tags/tag3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4.xml"/></Relationships>
</file>

<file path=ppt/slides/_rels/slide365.xml.rels><?xml version='1.0' encoding='UTF-8' standalone='yes'?>
<Relationships xmlns="http://schemas.openxmlformats.org/package/2006/relationships"><Relationship Id="rId1" Type="http://schemas.openxmlformats.org/officeDocument/2006/relationships/tags" Target="../tags/tag3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5.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6.xml"/></Relationships>
</file>

<file path=ppt/slides/_rels/slide367.xml.rels><?xml version='1.0' encoding='UTF-8' standalone='yes'?>
<Relationships xmlns="http://schemas.openxmlformats.org/package/2006/relationships"><Relationship Id="rId1" Type="http://schemas.openxmlformats.org/officeDocument/2006/relationships/tags" Target="../tags/tag3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7.xml"/></Relationships>
</file>

<file path=ppt/slides/_rels/slide369.xml.rels><?xml version='1.0' encoding='UTF-8' standalone='yes'?>
<Relationships xmlns="http://schemas.openxmlformats.org/package/2006/relationships"><Relationship Id="rId1" Type="http://schemas.openxmlformats.org/officeDocument/2006/relationships/tags" Target="../tags/tag3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9.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70.xml.rels><?xml version='1.0' encoding='UTF-8' standalone='yes'?>
<Relationships xmlns="http://schemas.openxmlformats.org/package/2006/relationships"><Relationship Id="rId1" Type="http://schemas.openxmlformats.org/officeDocument/2006/relationships/tags" Target="../tags/tag3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0.xml"/></Relationships>
</file>

<file path=ppt/slides/_rels/slide371.xml.rels><?xml version='1.0' encoding='UTF-8' standalone='yes'?>
<Relationships xmlns="http://schemas.openxmlformats.org/package/2006/relationships"><Relationship Id="rId1" Type="http://schemas.openxmlformats.org/officeDocument/2006/relationships/tags" Target="../tags/tag3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1.xml"/></Relationships>
</file>

<file path=ppt/slides/_rels/slide372.xml.rels><?xml version='1.0' encoding='UTF-8' standalone='yes'?>
<Relationships xmlns="http://schemas.openxmlformats.org/package/2006/relationships"><Relationship Id="rId1" Type="http://schemas.openxmlformats.org/officeDocument/2006/relationships/tags" Target="../tags/tag3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2.xml"/></Relationships>
</file>

<file path=ppt/slides/_rels/slide373.xml.rels><?xml version='1.0' encoding='UTF-8' standalone='yes'?>
<Relationships xmlns="http://schemas.openxmlformats.org/package/2006/relationships"><Relationship Id="rId1" Type="http://schemas.openxmlformats.org/officeDocument/2006/relationships/tags" Target="../tags/tag4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3.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4.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5.xml"/></Relationships>
</file>

<file path=ppt/slides/_rels/slide376.xml.rels><?xml version='1.0' encoding='UTF-8' standalone='yes'?>
<Relationships xmlns="http://schemas.openxmlformats.org/package/2006/relationships"><Relationship Id="rId1" Type="http://schemas.openxmlformats.org/officeDocument/2006/relationships/tags" Target="../tags/tag4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6.xml"/></Relationships>
</file>

<file path=ppt/slides/_rels/slide377.xml.rels><?xml version='1.0' encoding='UTF-8' standalone='yes'?>
<Relationships xmlns="http://schemas.openxmlformats.org/package/2006/relationships"><Relationship Id="rId1" Type="http://schemas.openxmlformats.org/officeDocument/2006/relationships/tags" Target="../tags/tag4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7.xml"/></Relationships>
</file>

<file path=ppt/slides/_rels/slide378.xml.rels><?xml version='1.0' encoding='UTF-8' standalone='yes'?>
<Relationships xmlns="http://schemas.openxmlformats.org/package/2006/relationships"><Relationship Id="rId1" Type="http://schemas.openxmlformats.org/officeDocument/2006/relationships/tags" Target="../tags/tag4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8.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0.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1.xml"/></Relationships>
</file>

<file path=ppt/slides/_rels/slide382.xml.rels><?xml version='1.0' encoding='UTF-8' standalone='yes'?>
<Relationships xmlns="http://schemas.openxmlformats.org/package/2006/relationships"><Relationship Id="rId1" Type="http://schemas.openxmlformats.org/officeDocument/2006/relationships/tags" Target="../tags/tag4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2.xml"/></Relationships>
</file>

<file path=ppt/slides/_rels/slide383.xml.rels><?xml version='1.0' encoding='UTF-8' standalone='yes'?>
<Relationships xmlns="http://schemas.openxmlformats.org/package/2006/relationships"><Relationship Id="rId1" Type="http://schemas.openxmlformats.org/officeDocument/2006/relationships/tags" Target="../tags/tag4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3.xml"/></Relationships>
</file>

<file path=ppt/slides/_rels/slide385.xml.rels><?xml version='1.0' encoding='UTF-8' standalone='yes'?>
<Relationships xmlns="http://schemas.openxmlformats.org/package/2006/relationships"><Relationship Id="rId1" Type="http://schemas.openxmlformats.org/officeDocument/2006/relationships/tags" Target="../tags/tag4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5.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7.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8.xml"/></Relationships>
</file>

<file path=ppt/slides/_rels/slide389.xml.rels><?xml version='1.0' encoding='UTF-8' standalone='yes'?>
<Relationships xmlns="http://schemas.openxmlformats.org/package/2006/relationships"><Relationship Id="rId1" Type="http://schemas.openxmlformats.org/officeDocument/2006/relationships/tags" Target="../tags/tag4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9.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391.xml.rels><?xml version='1.0' encoding='UTF-8' standalone='yes'?>
<Relationships xmlns="http://schemas.openxmlformats.org/package/2006/relationships"><Relationship Id="rId1" Type="http://schemas.openxmlformats.org/officeDocument/2006/relationships/tags" Target="../tags/tag4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1.xml"/></Relationships>
</file>

<file path=ppt/slides/_rels/slide392.xml.rels><?xml version='1.0' encoding='UTF-8' standalone='yes'?>
<Relationships xmlns="http://schemas.openxmlformats.org/package/2006/relationships"><Relationship Id="rId1" Type="http://schemas.openxmlformats.org/officeDocument/2006/relationships/tags" Target="../tags/tag4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2.xml"/></Relationships>
</file>

<file path=ppt/slides/_rels/slide393.xml.rels><?xml version='1.0' encoding='UTF-8' standalone='yes'?>
<Relationships xmlns="http://schemas.openxmlformats.org/package/2006/relationships"><Relationship Id="rId1" Type="http://schemas.openxmlformats.org/officeDocument/2006/relationships/tags" Target="../tags/tag4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3.xml"/></Relationships>
</file>

<file path=ppt/slides/_rels/slide394.xml.rels><?xml version='1.0' encoding='UTF-8' standalone='yes'?>
<Relationships xmlns="http://schemas.openxmlformats.org/package/2006/relationships"><Relationship Id="rId1" Type="http://schemas.openxmlformats.org/officeDocument/2006/relationships/tags" Target="../tags/tag4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4.xml"/></Relationships>
</file>

<file path=ppt/slides/_rels/slide396.xml.rels><?xml version='1.0' encoding='UTF-8' standalone='yes'?>
<Relationships xmlns="http://schemas.openxmlformats.org/package/2006/relationships"><Relationship Id="rId1" Type="http://schemas.openxmlformats.org/officeDocument/2006/relationships/tags" Target="../tags/tag4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6.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7.xml"/></Relationships>
</file>

<file path=ppt/slides/_rels/slide398.xml.rels><?xml version='1.0' encoding='UTF-8' standalone='yes'?>
<Relationships xmlns="http://schemas.openxmlformats.org/package/2006/relationships"><Relationship Id="rId1" Type="http://schemas.openxmlformats.org/officeDocument/2006/relationships/tags" Target="../tags/tag4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8.xml"/></Relationships>
</file>

<file path=ppt/slides/_rels/slide399.xml.rels><?xml version='1.0' encoding='UTF-8' standalone='yes'?>
<Relationships xmlns="http://schemas.openxmlformats.org/package/2006/relationships"><Relationship Id="rId1" Type="http://schemas.openxmlformats.org/officeDocument/2006/relationships/tags" Target="../tags/tag4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01.xml.rels><?xml version='1.0' encoding='UTF-8' standalone='yes'?>
<Relationships xmlns="http://schemas.openxmlformats.org/package/2006/relationships"><Relationship Id="rId1" Type="http://schemas.openxmlformats.org/officeDocument/2006/relationships/tags" Target="../tags/tag4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1.xml"/></Relationships>
</file>

<file path=ppt/slides/_rels/slide402.xml.rels><?xml version='1.0' encoding='UTF-8' standalone='yes'?>
<Relationships xmlns="http://schemas.openxmlformats.org/package/2006/relationships"><Relationship Id="rId1" Type="http://schemas.openxmlformats.org/officeDocument/2006/relationships/tags" Target="../tags/tag4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2.xml"/></Relationships>
</file>

<file path=ppt/slides/_rels/slide403.xml.rels><?xml version='1.0' encoding='UTF-8' standalone='yes'?>
<Relationships xmlns="http://schemas.openxmlformats.org/package/2006/relationships"><Relationship Id="rId1" Type="http://schemas.openxmlformats.org/officeDocument/2006/relationships/tags" Target="../tags/tag4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3.xml"/></Relationships>
</file>

<file path=ppt/slides/_rels/slide405.xml.rels><?xml version='1.0' encoding='UTF-8' standalone='yes'?>
<Relationships xmlns="http://schemas.openxmlformats.org/package/2006/relationships"><Relationship Id="rId1" Type="http://schemas.openxmlformats.org/officeDocument/2006/relationships/tags" Target="../tags/tag4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5.xml"/></Relationships>
</file>

<file path=ppt/slides/_rels/slide406.xml.rels><?xml version='1.0' encoding='UTF-8' standalone='yes'?>
<Relationships xmlns="http://schemas.openxmlformats.org/package/2006/relationships"><Relationship Id="rId1" Type="http://schemas.openxmlformats.org/officeDocument/2006/relationships/tags" Target="../tags/tag4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6.xml"/></Relationships>
</file>

<file path=ppt/slides/_rels/slide407.xml.rels><?xml version='1.0' encoding='UTF-8' standalone='yes'?>
<Relationships xmlns="http://schemas.openxmlformats.org/package/2006/relationships"><Relationship Id="rId1" Type="http://schemas.openxmlformats.org/officeDocument/2006/relationships/tags" Target="../tags/tag4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7.xml"/></Relationships>
</file>

<file path=ppt/slides/_rels/slide408.xml.rels><?xml version='1.0' encoding='UTF-8' standalone='yes'?>
<Relationships xmlns="http://schemas.openxmlformats.org/package/2006/relationships"><Relationship Id="rId1" Type="http://schemas.openxmlformats.org/officeDocument/2006/relationships/tags" Target="../tags/tag4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8.xml"/></Relationships>
</file>

<file path=ppt/slides/_rels/slide409.xml.rels><?xml version='1.0' encoding='UTF-8' standalone='yes'?>
<Relationships xmlns="http://schemas.openxmlformats.org/package/2006/relationships"><Relationship Id="rId1" Type="http://schemas.openxmlformats.org/officeDocument/2006/relationships/tags" Target="../tags/tag4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9.xml"/></Relationships>
</file>

<file path=ppt/slides/_rels/slide410.xml.rels><?xml version='1.0' encoding='UTF-8' standalone='yes'?>
<Relationships xmlns="http://schemas.openxmlformats.org/package/2006/relationships"><Relationship Id="rId1" Type="http://schemas.openxmlformats.org/officeDocument/2006/relationships/tags" Target="../tags/tag4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0.xml"/></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2.xml"/></Relationships>
</file>

<file path=ppt/slides/_rels/slide413.xml.rels><?xml version='1.0' encoding='UTF-8' standalone='yes'?>
<Relationships xmlns="http://schemas.openxmlformats.org/package/2006/relationships"><Relationship Id="rId1" Type="http://schemas.openxmlformats.org/officeDocument/2006/relationships/tags" Target="../tags/tag4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3.xml"/></Relationships>
</file>

<file path=ppt/slides/_rels/slide414.xml.rels><?xml version='1.0' encoding='UTF-8' standalone='yes'?>
<Relationships xmlns="http://schemas.openxmlformats.org/package/2006/relationships"><Relationship Id="rId1" Type="http://schemas.openxmlformats.org/officeDocument/2006/relationships/tags" Target="../tags/tag4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4.xml"/></Relationships>
</file>

<file path=ppt/slides/_rels/slide416.xml.rels><?xml version='1.0' encoding='UTF-8' standalone='yes'?>
<Relationships xmlns="http://schemas.openxmlformats.org/package/2006/relationships"><Relationship Id="rId1" Type="http://schemas.openxmlformats.org/officeDocument/2006/relationships/tags" Target="../tags/tag4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6.xml"/></Relationships>
</file>

<file path=ppt/slides/_rels/slide417.xml.rels><?xml version='1.0' encoding='UTF-8' standalone='yes'?>
<Relationships xmlns="http://schemas.openxmlformats.org/package/2006/relationships"><Relationship Id="rId1" Type="http://schemas.openxmlformats.org/officeDocument/2006/relationships/tags" Target="../tags/tag4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7.xml"/></Relationships>
</file>

<file path=ppt/slides/_rels/slide418.xml.rels><?xml version='1.0' encoding='UTF-8' standalone='yes'?>
<Relationships xmlns="http://schemas.openxmlformats.org/package/2006/relationships"><Relationship Id="rId1" Type="http://schemas.openxmlformats.org/officeDocument/2006/relationships/tags" Target="../tags/tag4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8.xml"/></Relationships>
</file>

<file path=ppt/slides/_rels/slide419.xml.rels><?xml version='1.0' encoding='UTF-8' standalone='yes'?>
<Relationships xmlns="http://schemas.openxmlformats.org/package/2006/relationships"><Relationship Id="rId1" Type="http://schemas.openxmlformats.org/officeDocument/2006/relationships/tags" Target="../tags/tag4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9.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0.xml"/></Relationships>
</file>

<file path=ppt/slides/_rels/slide421.xml.rels><?xml version='1.0' encoding='UTF-8' standalone='yes'?>
<Relationships xmlns="http://schemas.openxmlformats.org/package/2006/relationships"><Relationship Id="rId1" Type="http://schemas.openxmlformats.org/officeDocument/2006/relationships/tags" Target="../tags/tag4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1.xml"/></Relationships>
</file>

<file path=ppt/slides/_rels/slide423.xml.rels><?xml version='1.0' encoding='UTF-8' standalone='yes'?>
<Relationships xmlns="http://schemas.openxmlformats.org/package/2006/relationships"><Relationship Id="rId1" Type="http://schemas.openxmlformats.org/officeDocument/2006/relationships/tags" Target="../tags/tag4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3.xml"/></Relationships>
</file>

<file path=ppt/slides/_rels/slide424.xml.rels><?xml version='1.0' encoding='UTF-8' standalone='yes'?>
<Relationships xmlns="http://schemas.openxmlformats.org/package/2006/relationships"><Relationship Id="rId1" Type="http://schemas.openxmlformats.org/officeDocument/2006/relationships/tags" Target="../tags/tag4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4.xml"/></Relationships>
</file>

<file path=ppt/slides/_rels/slide425.xml.rels><?xml version='1.0' encoding='UTF-8' standalone='yes'?>
<Relationships xmlns="http://schemas.openxmlformats.org/package/2006/relationships"><Relationship Id="rId1" Type="http://schemas.openxmlformats.org/officeDocument/2006/relationships/tags" Target="../tags/tag4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5.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6.xml"/></Relationships>
</file>

<file path=ppt/slides/_rels/slide427.xml.rels><?xml version='1.0' encoding='UTF-8' standalone='yes'?>
<Relationships xmlns="http://schemas.openxmlformats.org/package/2006/relationships"><Relationship Id="rId1" Type="http://schemas.openxmlformats.org/officeDocument/2006/relationships/tags" Target="../tags/tag4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7.xml"/></Relationships>
</file>

<file path=ppt/slides/_rels/slide428.xml.rels><?xml version='1.0' encoding='UTF-8' standalone='yes'?>
<Relationships xmlns="http://schemas.openxmlformats.org/package/2006/relationships"><Relationship Id="rId1" Type="http://schemas.openxmlformats.org/officeDocument/2006/relationships/tags" Target="../tags/tag4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8.xml"/></Relationships>
</file>

<file path=ppt/slides/_rels/slide429.xml.rels><?xml version='1.0' encoding='UTF-8' standalone='yes'?>
<Relationships xmlns="http://schemas.openxmlformats.org/package/2006/relationships"><Relationship Id="rId1" Type="http://schemas.openxmlformats.org/officeDocument/2006/relationships/tags" Target="../tags/tag4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9.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30.xml.rels><?xml version='1.0' encoding='UTF-8' standalone='yes'?>
<Relationships xmlns="http://schemas.openxmlformats.org/package/2006/relationships"><Relationship Id="rId1" Type="http://schemas.openxmlformats.org/officeDocument/2006/relationships/tags" Target="../tags/tag4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0.xml"/></Relationships>
</file>

<file path=ppt/slides/_rels/slide431.xml.rels><?xml version='1.0' encoding='UTF-8' standalone='yes'?>
<Relationships xmlns="http://schemas.openxmlformats.org/package/2006/relationships"><Relationship Id="rId1" Type="http://schemas.openxmlformats.org/officeDocument/2006/relationships/tags" Target="../tags/tag4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1.xml"/></Relationships>
</file>

<file path=ppt/slides/_rels/slide432.xml.rels><?xml version='1.0' encoding='UTF-8' standalone='yes'?>
<Relationships xmlns="http://schemas.openxmlformats.org/package/2006/relationships"><Relationship Id="rId1" Type="http://schemas.openxmlformats.org/officeDocument/2006/relationships/tags" Target="../tags/tag4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2.xml"/></Relationships>
</file>

<file path=ppt/slides/_rels/slide434.xml.rels><?xml version='1.0' encoding='UTF-8' standalone='yes'?>
<Relationships xmlns="http://schemas.openxmlformats.org/package/2006/relationships"><Relationship Id="rId1" Type="http://schemas.openxmlformats.org/officeDocument/2006/relationships/tags" Target="../tags/tag4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4.xml"/></Relationships>
</file>

<file path=ppt/slides/_rels/slide435.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5.xml"/></Relationships>
</file>

<file path=ppt/slides/_rels/slide436.xml.rels><?xml version='1.0' encoding='UTF-8' standalone='yes'?>
<Relationships xmlns="http://schemas.openxmlformats.org/package/2006/relationships"><Relationship Id="rId1" Type="http://schemas.openxmlformats.org/officeDocument/2006/relationships/tags" Target="../tags/tag4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6.xml"/></Relationships>
</file>

<file path=ppt/slides/_rels/slide437.xml.rels><?xml version='1.0' encoding='UTF-8' standalone='yes'?>
<Relationships xmlns="http://schemas.openxmlformats.org/package/2006/relationships"><Relationship Id="rId1" Type="http://schemas.openxmlformats.org/officeDocument/2006/relationships/tags" Target="../tags/tag4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7.xml"/></Relationships>
</file>

<file path=ppt/slides/_rels/slide438.xml.rels><?xml version='1.0' encoding='UTF-8' standalone='yes'?>
<Relationships xmlns="http://schemas.openxmlformats.org/package/2006/relationships"><Relationship Id="rId1" Type="http://schemas.openxmlformats.org/officeDocument/2006/relationships/tags" Target="../tags/tag4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8.xml"/></Relationships>
</file>

<file path=ppt/slides/_rels/slide439.xml.rels><?xml version='1.0' encoding='UTF-8' standalone='yes'?>
<Relationships xmlns="http://schemas.openxmlformats.org/package/2006/relationships"><Relationship Id="rId1" Type="http://schemas.openxmlformats.org/officeDocument/2006/relationships/tags" Target="../tags/tag4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9.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41.xml.rels><?xml version='1.0' encoding='UTF-8' standalone='yes'?>
<Relationships xmlns="http://schemas.openxmlformats.org/package/2006/relationships"><Relationship Id="rId1" Type="http://schemas.openxmlformats.org/officeDocument/2006/relationships/tags" Target="../tags/tag4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1.xml"/></Relationships>
</file>

<file path=ppt/slides/_rels/slide442.xml.rels><?xml version='1.0' encoding='UTF-8' standalone='yes'?>
<Relationships xmlns="http://schemas.openxmlformats.org/package/2006/relationships"><Relationship Id="rId1" Type="http://schemas.openxmlformats.org/officeDocument/2006/relationships/tags" Target="../tags/tag4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2.xml"/></Relationships>
</file>

<file path=ppt/slides/_rels/slide443.xml.rels><?xml version='1.0' encoding='UTF-8' standalone='yes'?>
<Relationships xmlns="http://schemas.openxmlformats.org/package/2006/relationships"><Relationship Id="rId1" Type="http://schemas.openxmlformats.org/officeDocument/2006/relationships/tags" Target="../tags/tag4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3.xml"/></Relationships>
</file>

<file path=ppt/slides/_rels/slide445.xml.rels><?xml version='1.0' encoding='UTF-8' standalone='yes'?>
<Relationships xmlns="http://schemas.openxmlformats.org/package/2006/relationships"><Relationship Id="rId1" Type="http://schemas.openxmlformats.org/officeDocument/2006/relationships/tags" Target="../tags/tag4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5.xml"/></Relationships>
</file>

<file path=ppt/slides/_rels/slide447.xml.rels><?xml version='1.0' encoding='UTF-8' standalone='yes'?>
<Relationships xmlns="http://schemas.openxmlformats.org/package/2006/relationships"><Relationship Id="rId1" Type="http://schemas.openxmlformats.org/officeDocument/2006/relationships/tags" Target="../tags/tag4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7.xml"/></Relationships>
</file>

<file path=ppt/slides/_rels/slide448.xml.rels><?xml version='1.0' encoding='UTF-8' standalone='yes'?>
<Relationships xmlns="http://schemas.openxmlformats.org/package/2006/relationships"><Relationship Id="rId1" Type="http://schemas.openxmlformats.org/officeDocument/2006/relationships/tags" Target="../tags/tag4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8.xml"/></Relationships>
</file>

<file path=ppt/slides/_rels/slide449.xml.rels><?xml version='1.0' encoding='UTF-8' standalone='yes'?>
<Relationships xmlns="http://schemas.openxmlformats.org/package/2006/relationships"><Relationship Id="rId1" Type="http://schemas.openxmlformats.org/officeDocument/2006/relationships/tags" Target="../tags/tag4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9.xml"/></Relationships>
</file>

<file path=ppt/slides/_rels/slide450.xml.rels><?xml version='1.0' encoding='UTF-8' standalone='yes'?>
<Relationships xmlns="http://schemas.openxmlformats.org/package/2006/relationships"><Relationship Id="rId1" Type="http://schemas.openxmlformats.org/officeDocument/2006/relationships/tags" Target="../tags/tag4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0.xml"/></Relationships>
</file>

<file path=ppt/slides/_rels/slide452.xml.rels><?xml version='1.0' encoding='UTF-8' standalone='yes'?>
<Relationships xmlns="http://schemas.openxmlformats.org/package/2006/relationships"><Relationship Id="rId1" Type="http://schemas.openxmlformats.org/officeDocument/2006/relationships/tags" Target="../tags/tag4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2.xml"/></Relationships>
</file>

<file path=ppt/slides/_rels/slide453.xml.rels><?xml version='1.0' encoding='UTF-8' standalone='yes'?>
<Relationships xmlns="http://schemas.openxmlformats.org/package/2006/relationships"><Relationship Id="rId1" Type="http://schemas.openxmlformats.org/officeDocument/2006/relationships/tags" Target="../tags/tag4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3.xml"/></Relationships>
</file>

<file path=ppt/slides/_rels/slide454.xml.rels><?xml version='1.0' encoding='UTF-8' standalone='yes'?>
<Relationships xmlns="http://schemas.openxmlformats.org/package/2006/relationships"><Relationship Id="rId1" Type="http://schemas.openxmlformats.org/officeDocument/2006/relationships/tags" Target="../tags/tag4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4.xml"/></Relationships>
</file>

<file path=ppt/slides/_rels/slide456.xml.rels><?xml version='1.0' encoding='UTF-8' standalone='yes'?>
<Relationships xmlns="http://schemas.openxmlformats.org/package/2006/relationships"><Relationship Id="rId1" Type="http://schemas.openxmlformats.org/officeDocument/2006/relationships/tags" Target="../tags/tag4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6.xml"/></Relationships>
</file>

<file path=ppt/slides/_rels/slide458.xml.rels><?xml version='1.0' encoding='UTF-8' standalone='yes'?>
<Relationships xmlns="http://schemas.openxmlformats.org/package/2006/relationships"><Relationship Id="rId1" Type="http://schemas.openxmlformats.org/officeDocument/2006/relationships/tags" Target="../tags/tag4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8.xml"/></Relationships>
</file>

<file path=ppt/slides/_rels/slide459.xml.rels><?xml version='1.0' encoding='UTF-8' standalone='yes'?>
<Relationships xmlns="http://schemas.openxmlformats.org/package/2006/relationships"><Relationship Id="rId1" Type="http://schemas.openxmlformats.org/officeDocument/2006/relationships/tags" Target="../tags/tag4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9.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60.xml.rels><?xml version='1.0' encoding='UTF-8' standalone='yes'?>
<Relationships xmlns="http://schemas.openxmlformats.org/package/2006/relationships"><Relationship Id="rId1" Type="http://schemas.openxmlformats.org/officeDocument/2006/relationships/tags" Target="../tags/tag4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0.xml"/></Relationships>
</file>

<file path=ppt/slides/_rels/slide461.xml.rels><?xml version='1.0' encoding='UTF-8' standalone='yes'?>
<Relationships xmlns="http://schemas.openxmlformats.org/package/2006/relationships"><Relationship Id="rId1" Type="http://schemas.openxmlformats.org/officeDocument/2006/relationships/tags" Target="../tags/tag4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1.xml"/></Relationships>
</file>

<file path=ppt/slides/_rels/slide463.xml.rels><?xml version='1.0' encoding='UTF-8' standalone='yes'?>
<Relationships xmlns="http://schemas.openxmlformats.org/package/2006/relationships"><Relationship Id="rId1" Type="http://schemas.openxmlformats.org/officeDocument/2006/relationships/tags" Target="../tags/tag4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3.xml"/></Relationships>
</file>

<file path=ppt/slides/_rels/slide464.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4.xml"/></Relationships>
</file>

<file path=ppt/slides/_rels/slide465.xml.rels><?xml version='1.0' encoding='UTF-8' standalone='yes'?>
<Relationships xmlns="http://schemas.openxmlformats.org/package/2006/relationships"><Relationship Id="rId1" Type="http://schemas.openxmlformats.org/officeDocument/2006/relationships/tags" Target="../tags/tag4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5.xml"/></Relationships>
</file>

<file path=ppt/slides/_rels/slide466.xml.rels><?xml version='1.0' encoding='UTF-8' standalone='yes'?>
<Relationships xmlns="http://schemas.openxmlformats.org/package/2006/relationships"><Relationship Id="rId1" Type="http://schemas.openxmlformats.org/officeDocument/2006/relationships/tags" Target="../tags/tag4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6.xml"/></Relationships>
</file>

<file path=ppt/slides/_rels/slide467.xml.rels><?xml version='1.0' encoding='UTF-8' standalone='yes'?>
<Relationships xmlns="http://schemas.openxmlformats.org/package/2006/relationships"><Relationship Id="rId1" Type="http://schemas.openxmlformats.org/officeDocument/2006/relationships/tags" Target="../tags/tag4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7.xml"/></Relationships>
</file>

<file path=ppt/slides/_rels/slide469.xml.rels><?xml version='1.0' encoding='UTF-8' standalone='yes'?>
<Relationships xmlns="http://schemas.openxmlformats.org/package/2006/relationships"><Relationship Id="rId1" Type="http://schemas.openxmlformats.org/officeDocument/2006/relationships/tags" Target="../tags/tag4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9.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70.xml.rels><?xml version='1.0' encoding='UTF-8' standalone='yes'?>
<Relationships xmlns="http://schemas.openxmlformats.org/package/2006/relationships"><Relationship Id="rId1" Type="http://schemas.openxmlformats.org/officeDocument/2006/relationships/tags" Target="../tags/tag4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0.xml"/></Relationships>
</file>

<file path=ppt/slides/_rels/slide471.xml.rels><?xml version='1.0' encoding='UTF-8' standalone='yes'?>
<Relationships xmlns="http://schemas.openxmlformats.org/package/2006/relationships"><Relationship Id="rId1" Type="http://schemas.openxmlformats.org/officeDocument/2006/relationships/tags" Target="../tags/tag4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1.xml"/></Relationships>
</file>

<file path=ppt/slides/_rels/slide472.xml.rels><?xml version='1.0' encoding='UTF-8' standalone='yes'?>
<Relationships xmlns="http://schemas.openxmlformats.org/package/2006/relationships"><Relationship Id="rId1" Type="http://schemas.openxmlformats.org/officeDocument/2006/relationships/tags" Target="../tags/tag4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2.xml"/></Relationships>
</file>

<file path=ppt/slides/_rels/slide474.xml.rels><?xml version='1.0' encoding='UTF-8' standalone='yes'?>
<Relationships xmlns="http://schemas.openxmlformats.org/package/2006/relationships"><Relationship Id="rId1" Type="http://schemas.openxmlformats.org/officeDocument/2006/relationships/tags" Target="../tags/tag5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4.xml"/></Relationships>
</file>

<file path=ppt/slides/_rels/slide475.xml.rels><?xml version='1.0' encoding='UTF-8' standalone='yes'?>
<Relationships xmlns="http://schemas.openxmlformats.org/package/2006/relationships"><Relationship Id="rId1" Type="http://schemas.openxmlformats.org/officeDocument/2006/relationships/tags" Target="../tags/tag5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5.xml"/></Relationships>
</file>

<file path=ppt/slides/_rels/slide476.xml.rels><?xml version='1.0' encoding='UTF-8' standalone='yes'?>
<Relationships xmlns="http://schemas.openxmlformats.org/package/2006/relationships"><Relationship Id="rId1" Type="http://schemas.openxmlformats.org/officeDocument/2006/relationships/tags" Target="../tags/tag5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6.xml"/></Relationships>
</file>

<file path=ppt/slides/_rels/slide477.xml.rels><?xml version='1.0' encoding='UTF-8' standalone='yes'?>
<Relationships xmlns="http://schemas.openxmlformats.org/package/2006/relationships"><Relationship Id="rId1" Type="http://schemas.openxmlformats.org/officeDocument/2006/relationships/tags" Target="../tags/tag5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7.xml"/></Relationships>
</file>

<file path=ppt/slides/_rels/slide478.xml.rels><?xml version='1.0' encoding='UTF-8' standalone='yes'?>
<Relationships xmlns="http://schemas.openxmlformats.org/package/2006/relationships"><Relationship Id="rId1" Type="http://schemas.openxmlformats.org/officeDocument/2006/relationships/tags" Target="../tags/tag5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8.xml"/></Relationships>
</file>

<file path=ppt/slides/_rels/slide479.xml.rels><?xml version='1.0' encoding='UTF-8' standalone='yes'?>
<Relationships xmlns="http://schemas.openxmlformats.org/package/2006/relationships"><Relationship Id="rId1" Type="http://schemas.openxmlformats.org/officeDocument/2006/relationships/tags" Target="../tags/tag5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9.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80.xml.rels><?xml version='1.0' encoding='UTF-8' standalone='yes'?>
<Relationships xmlns="http://schemas.openxmlformats.org/package/2006/relationships"><Relationship Id="rId1" Type="http://schemas.openxmlformats.org/officeDocument/2006/relationships/tags" Target="../tags/tag5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0.xml"/></Relationships>
</file>

<file path=ppt/slides/_rels/slide481.xml.rels><?xml version='1.0' encoding='UTF-8' standalone='yes'?>
<Relationships xmlns="http://schemas.openxmlformats.org/package/2006/relationships"><Relationship Id="rId1" Type="http://schemas.openxmlformats.org/officeDocument/2006/relationships/tags" Target="../tags/tag5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1.xml"/></Relationships>
</file>

<file path=ppt/slides/_rels/slide482.xml.rels><?xml version='1.0' encoding='UTF-8' standalone='yes'?>
<Relationships xmlns="http://schemas.openxmlformats.org/package/2006/relationships"><Relationship Id="rId1" Type="http://schemas.openxmlformats.org/officeDocument/2006/relationships/tags" Target="../tags/tag5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2.xml"/></Relationships>
</file>

<file path=ppt/slides/_rels/slide483.xml.rels><?xml version='1.0' encoding='UTF-8' standalone='yes'?>
<Relationships xmlns="http://schemas.openxmlformats.org/package/2006/relationships"><Relationship Id="rId1" Type="http://schemas.openxmlformats.org/officeDocument/2006/relationships/tags" Target="../tags/tag5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3.xml"/></Relationships>
</file>

<file path=ppt/slides/_rels/slide485.xml.rels><?xml version='1.0' encoding='UTF-8' standalone='yes'?>
<Relationships xmlns="http://schemas.openxmlformats.org/package/2006/relationships"><Relationship Id="rId1" Type="http://schemas.openxmlformats.org/officeDocument/2006/relationships/tags" Target="../tags/tag5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5.xml"/></Relationships>
</file>

<file path=ppt/slides/_rels/slide487.xml.rels><?xml version='1.0' encoding='UTF-8' standalone='yes'?>
<Relationships xmlns="http://schemas.openxmlformats.org/package/2006/relationships"><Relationship Id="rId1" Type="http://schemas.openxmlformats.org/officeDocument/2006/relationships/tags" Target="../tags/tag5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7.xml"/></Relationships>
</file>

<file path=ppt/slides/_rels/slide488.xml.rels><?xml version='1.0' encoding='UTF-8' standalone='yes'?>
<Relationships xmlns="http://schemas.openxmlformats.org/package/2006/relationships"><Relationship Id="rId1" Type="http://schemas.openxmlformats.org/officeDocument/2006/relationships/tags" Target="../tags/tag5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8.xml"/></Relationships>
</file>

<file path=ppt/slides/_rels/slide489.xml.rels><?xml version='1.0' encoding='UTF-8' standalone='yes'?>
<Relationships xmlns="http://schemas.openxmlformats.org/package/2006/relationships"><Relationship Id="rId1" Type="http://schemas.openxmlformats.org/officeDocument/2006/relationships/tags" Target="../tags/tag5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9.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490.xml.rels><?xml version='1.0' encoding='UTF-8' standalone='yes'?>
<Relationships xmlns="http://schemas.openxmlformats.org/package/2006/relationships"><Relationship Id="rId1" Type="http://schemas.openxmlformats.org/officeDocument/2006/relationships/tags" Target="../tags/tag5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0.xml"/></Relationships>
</file>

<file path=ppt/slides/_rels/slide491.xml.rels><?xml version='1.0' encoding='UTF-8' standalone='yes'?>
<Relationships xmlns="http://schemas.openxmlformats.org/package/2006/relationships"><Relationship Id="rId1" Type="http://schemas.openxmlformats.org/officeDocument/2006/relationships/tags" Target="../tags/tag5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1.xml"/></Relationships>
</file>

<file path=ppt/slides/_rels/slide492.xml.rels><?xml version='1.0' encoding='UTF-8' standalone='yes'?>
<Relationships xmlns="http://schemas.openxmlformats.org/package/2006/relationships"><Relationship Id="rId1" Type="http://schemas.openxmlformats.org/officeDocument/2006/relationships/tags" Target="../tags/tag5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2.xml"/></Relationships>
</file>

<file path=ppt/slides/_rels/slide493.xml.rels><?xml version='1.0' encoding='UTF-8' standalone='yes'?>
<Relationships xmlns="http://schemas.openxmlformats.org/package/2006/relationships"><Relationship Id="rId1" Type="http://schemas.openxmlformats.org/officeDocument/2006/relationships/tags" Target="../tags/tag5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3.xml"/></Relationships>
</file>

<file path=ppt/slides/_rels/slide494.xml.rels><?xml version='1.0' encoding='UTF-8' standalone='yes'?>
<Relationships xmlns="http://schemas.openxmlformats.org/package/2006/relationships"><Relationship Id="rId1" Type="http://schemas.openxmlformats.org/officeDocument/2006/relationships/tags" Target="../tags/tag5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4.xml"/></Relationships>
</file>

<file path=ppt/slides/_rels/slide496.xml.rels><?xml version='1.0' encoding='UTF-8' standalone='yes'?>
<Relationships xmlns="http://schemas.openxmlformats.org/package/2006/relationships"><Relationship Id="rId1" Type="http://schemas.openxmlformats.org/officeDocument/2006/relationships/tags" Target="../tags/tag5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6.xml"/></Relationships>
</file>

<file path=ppt/slides/_rels/slide497.xml.rels><?xml version='1.0' encoding='UTF-8' standalone='yes'?>
<Relationships xmlns="http://schemas.openxmlformats.org/package/2006/relationships"><Relationship Id="rId1" Type="http://schemas.openxmlformats.org/officeDocument/2006/relationships/tags" Target="../tags/tag5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7.xml"/></Relationships>
</file>

<file path=ppt/slides/_rels/slide498.xml.rels><?xml version='1.0' encoding='UTF-8' standalone='yes'?>
<Relationships xmlns="http://schemas.openxmlformats.org/package/2006/relationships"><Relationship Id="rId1" Type="http://schemas.openxmlformats.org/officeDocument/2006/relationships/tags" Target="../tags/tag5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8.xml"/></Relationships>
</file>

<file path=ppt/slides/_rels/slide499.xml.rels><?xml version='1.0' encoding='UTF-8' standalone='yes'?>
<Relationships xmlns="http://schemas.openxmlformats.org/package/2006/relationships"><Relationship Id="rId1" Type="http://schemas.openxmlformats.org/officeDocument/2006/relationships/tags" Target="../tags/tag5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9.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01.xml.rels><?xml version='1.0' encoding='UTF-8' standalone='yes'?>
<Relationships xmlns="http://schemas.openxmlformats.org/package/2006/relationships"><Relationship Id="rId1" Type="http://schemas.openxmlformats.org/officeDocument/2006/relationships/tags" Target="../tags/tag5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1.xml"/></Relationships>
</file>

<file path=ppt/slides/_rels/slide502.xml.rels><?xml version='1.0' encoding='UTF-8' standalone='yes'?>
<Relationships xmlns="http://schemas.openxmlformats.org/package/2006/relationships"><Relationship Id="rId1" Type="http://schemas.openxmlformats.org/officeDocument/2006/relationships/tags" Target="../tags/tag5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2.xml"/></Relationships>
</file>

<file path=ppt/slides/_rels/slide503.xml.rels><?xml version='1.0' encoding='UTF-8' standalone='yes'?>
<Relationships xmlns="http://schemas.openxmlformats.org/package/2006/relationships"><Relationship Id="rId1" Type="http://schemas.openxmlformats.org/officeDocument/2006/relationships/tags" Target="../tags/tag5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3.xml"/></Relationships>
</file>

<file path=ppt/slides/_rels/slide504.xml.rels><?xml version='1.0' encoding='UTF-8' standalone='yes'?>
<Relationships xmlns="http://schemas.openxmlformats.org/package/2006/relationships"><Relationship Id="rId1" Type="http://schemas.openxmlformats.org/officeDocument/2006/relationships/tags" Target="../tags/tag5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4.xml"/></Relationships>
</file>

<file path=ppt/slides/_rels/slide505.xml.rels><?xml version='1.0' encoding='UTF-8' standalone='yes'?>
<Relationships xmlns="http://schemas.openxmlformats.org/package/2006/relationships"><Relationship Id="rId1" Type="http://schemas.openxmlformats.org/officeDocument/2006/relationships/tags" Target="../tags/tag5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5.xml"/></Relationships>
</file>

<file path=ppt/slides/_rels/slide506.xml.rels><?xml version='1.0' encoding='UTF-8' standalone='yes'?>
<Relationships xmlns="http://schemas.openxmlformats.org/package/2006/relationships"><Relationship Id="rId1" Type="http://schemas.openxmlformats.org/officeDocument/2006/relationships/tags" Target="../tags/tag5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6.xml"/></Relationships>
</file>

<file path=ppt/slides/_rels/slide508.xml.rels><?xml version='1.0' encoding='UTF-8' standalone='yes'?>
<Relationships xmlns="http://schemas.openxmlformats.org/package/2006/relationships"><Relationship Id="rId1" Type="http://schemas.openxmlformats.org/officeDocument/2006/relationships/tags" Target="../tags/tag5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8.xml"/></Relationships>
</file>

<file path=ppt/slides/_rels/slide509.xml.rels><?xml version='1.0' encoding='UTF-8' standalone='yes'?>
<Relationships xmlns="http://schemas.openxmlformats.org/package/2006/relationships"><Relationship Id="rId1" Type="http://schemas.openxmlformats.org/officeDocument/2006/relationships/tags" Target="../tags/tag5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9.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s>
</file>

<file path=ppt/slides/_rels/slide510.xml.rels><?xml version='1.0' encoding='UTF-8' standalone='yes'?>
<Relationships xmlns="http://schemas.openxmlformats.org/package/2006/relationships"><Relationship Id="rId1" Type="http://schemas.openxmlformats.org/officeDocument/2006/relationships/tags" Target="../tags/tag5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0.xml"/></Relationships>
</file>

<file path=ppt/slides/_rels/slide512.xml.rels><?xml version='1.0' encoding='UTF-8' standalone='yes'?>
<Relationships xmlns="http://schemas.openxmlformats.org/package/2006/relationships"><Relationship Id="rId1" Type="http://schemas.openxmlformats.org/officeDocument/2006/relationships/tags" Target="../tags/tag5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2.xml"/></Relationships>
</file>

<file path=ppt/slides/_rels/slide513.xml.rels><?xml version='1.0' encoding='UTF-8' standalone='yes'?>
<Relationships xmlns="http://schemas.openxmlformats.org/package/2006/relationships"><Relationship Id="rId1" Type="http://schemas.openxmlformats.org/officeDocument/2006/relationships/tags" Target="../tags/tag5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3.xml"/></Relationships>
</file>

<file path=ppt/slides/_rels/slide514.xml.rels><?xml version='1.0' encoding='UTF-8' standalone='yes'?>
<Relationships xmlns="http://schemas.openxmlformats.org/package/2006/relationships"><Relationship Id="rId1" Type="http://schemas.openxmlformats.org/officeDocument/2006/relationships/tags" Target="../tags/tag5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4.xml"/></Relationships>
</file>

<file path=ppt/slides/_rels/slide515.xml.rels><?xml version='1.0' encoding='UTF-8' standalone='yes'?>
<Relationships xmlns="http://schemas.openxmlformats.org/package/2006/relationships"><Relationship Id="rId1" Type="http://schemas.openxmlformats.org/officeDocument/2006/relationships/tags" Target="../tags/tag5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5.xml"/></Relationships>
</file>

<file path=ppt/slides/_rels/slide516.xml.rels><?xml version='1.0' encoding='UTF-8' standalone='yes'?>
<Relationships xmlns="http://schemas.openxmlformats.org/package/2006/relationships"><Relationship Id="rId1" Type="http://schemas.openxmlformats.org/officeDocument/2006/relationships/tags" Target="../tags/tag5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6.xml"/></Relationships>
</file>

<file path=ppt/slides/_rels/slide517.xml.rels><?xml version='1.0' encoding='UTF-8' standalone='yes'?>
<Relationships xmlns="http://schemas.openxmlformats.org/package/2006/relationships"><Relationship Id="rId1" Type="http://schemas.openxmlformats.org/officeDocument/2006/relationships/tags" Target="../tags/tag5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7.xml"/></Relationships>
</file>

<file path=ppt/slides/_rels/slide519.xml.rels><?xml version='1.0' encoding='UTF-8' standalone='yes'?>
<Relationships xmlns="http://schemas.openxmlformats.org/package/2006/relationships"><Relationship Id="rId1" Type="http://schemas.openxmlformats.org/officeDocument/2006/relationships/tags" Target="../tags/tag5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9.xml"/></Relationships>
</file>

<file path=ppt/slides/_rels/slide520.xml.rels><?xml version='1.0' encoding='UTF-8' standalone='yes'?>
<Relationships xmlns="http://schemas.openxmlformats.org/package/2006/relationships"><Relationship Id="rId1" Type="http://schemas.openxmlformats.org/officeDocument/2006/relationships/tags" Target="../tags/tag5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0.xml"/></Relationships>
</file>

<file path=ppt/slides/_rels/slide521.xml.rels><?xml version='1.0' encoding='UTF-8' standalone='yes'?>
<Relationships xmlns="http://schemas.openxmlformats.org/package/2006/relationships"><Relationship Id="rId1" Type="http://schemas.openxmlformats.org/officeDocument/2006/relationships/tags" Target="../tags/tag5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1.xml"/></Relationships>
</file>

<file path=ppt/slides/_rels/slide523.xml.rels><?xml version='1.0' encoding='UTF-8' standalone='yes'?>
<Relationships xmlns="http://schemas.openxmlformats.org/package/2006/relationships"><Relationship Id="rId1" Type="http://schemas.openxmlformats.org/officeDocument/2006/relationships/tags" Target="../tags/tag5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3.xml"/></Relationships>
</file>

<file path=ppt/slides/_rels/slide524.xml.rels><?xml version='1.0' encoding='UTF-8' standalone='yes'?>
<Relationships xmlns="http://schemas.openxmlformats.org/package/2006/relationships"><Relationship Id="rId1" Type="http://schemas.openxmlformats.org/officeDocument/2006/relationships/tags" Target="../tags/tag5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4.xml"/></Relationships>
</file>

<file path=ppt/slides/_rels/slide525.xml.rels><?xml version='1.0' encoding='UTF-8' standalone='yes'?>
<Relationships xmlns="http://schemas.openxmlformats.org/package/2006/relationships"><Relationship Id="rId1" Type="http://schemas.openxmlformats.org/officeDocument/2006/relationships/tags" Target="../tags/tag5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5.xml"/></Relationships>
</file>

<file path=ppt/slides/_rels/slide526.xml.rels><?xml version='1.0' encoding='UTF-8' standalone='yes'?>
<Relationships xmlns="http://schemas.openxmlformats.org/package/2006/relationships"><Relationship Id="rId1" Type="http://schemas.openxmlformats.org/officeDocument/2006/relationships/tags" Target="../tags/tag5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6.xml"/></Relationships>
</file>

<file path=ppt/slides/_rels/slide527.xml.rels><?xml version='1.0' encoding='UTF-8' standalone='yes'?>
<Relationships xmlns="http://schemas.openxmlformats.org/package/2006/relationships"><Relationship Id="rId1" Type="http://schemas.openxmlformats.org/officeDocument/2006/relationships/tags" Target="../tags/tag5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7.xml"/></Relationships>
</file>

<file path=ppt/slides/_rels/slide528.xml.rels><?xml version='1.0' encoding='UTF-8' standalone='yes'?>
<Relationships xmlns="http://schemas.openxmlformats.org/package/2006/relationships"><Relationship Id="rId1" Type="http://schemas.openxmlformats.org/officeDocument/2006/relationships/tags" Target="../tags/tag5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8.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30.xml.rels><?xml version='1.0' encoding='UTF-8' standalone='yes'?>
<Relationships xmlns="http://schemas.openxmlformats.org/package/2006/relationships"><Relationship Id="rId1" Type="http://schemas.openxmlformats.org/officeDocument/2006/relationships/tags" Target="../tags/tag5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0.xml"/></Relationships>
</file>

<file path=ppt/slides/_rels/slide531.xml.rels><?xml version='1.0' encoding='UTF-8' standalone='yes'?>
<Relationships xmlns="http://schemas.openxmlformats.org/package/2006/relationships"><Relationship Id="rId1" Type="http://schemas.openxmlformats.org/officeDocument/2006/relationships/tags" Target="../tags/tag5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1.xml"/></Relationships>
</file>

<file path=ppt/slides/_rels/slide532.xml.rels><?xml version='1.0' encoding='UTF-8' standalone='yes'?>
<Relationships xmlns="http://schemas.openxmlformats.org/package/2006/relationships"><Relationship Id="rId1" Type="http://schemas.openxmlformats.org/officeDocument/2006/relationships/tags" Target="../tags/tag5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2.xml"/></Relationships>
</file>

<file path=ppt/slides/_rels/slide534.xml.rels><?xml version='1.0' encoding='UTF-8' standalone='yes'?>
<Relationships xmlns="http://schemas.openxmlformats.org/package/2006/relationships"><Relationship Id="rId1" Type="http://schemas.openxmlformats.org/officeDocument/2006/relationships/tags" Target="../tags/tag5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4.xml"/></Relationships>
</file>

<file path=ppt/slides/_rels/slide535.xml.rels><?xml version='1.0' encoding='UTF-8' standalone='yes'?>
<Relationships xmlns="http://schemas.openxmlformats.org/package/2006/relationships"><Relationship Id="rId1" Type="http://schemas.openxmlformats.org/officeDocument/2006/relationships/tags" Target="../tags/tag5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5.xml"/></Relationships>
</file>

<file path=ppt/slides/_rels/slide536.xml.rels><?xml version='1.0' encoding='UTF-8' standalone='yes'?>
<Relationships xmlns="http://schemas.openxmlformats.org/package/2006/relationships"><Relationship Id="rId1" Type="http://schemas.openxmlformats.org/officeDocument/2006/relationships/tags" Target="../tags/tag5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6.xml"/></Relationships>
</file>

<file path=ppt/slides/_rels/slide537.xml.rels><?xml version='1.0' encoding='UTF-8' standalone='yes'?>
<Relationships xmlns="http://schemas.openxmlformats.org/package/2006/relationships"><Relationship Id="rId1" Type="http://schemas.openxmlformats.org/officeDocument/2006/relationships/tags" Target="../tags/tag5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7.xml"/></Relationships>
</file>

<file path=ppt/slides/_rels/slide538.xml.rels><?xml version='1.0' encoding='UTF-8' standalone='yes'?>
<Relationships xmlns="http://schemas.openxmlformats.org/package/2006/relationships"><Relationship Id="rId1" Type="http://schemas.openxmlformats.org/officeDocument/2006/relationships/tags" Target="../tags/tag5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8.xml"/></Relationships>
</file>

<file path=ppt/slides/_rels/slide539.xml.rels><?xml version='1.0' encoding='UTF-8' standalone='yes'?>
<Relationships xmlns="http://schemas.openxmlformats.org/package/2006/relationships"><Relationship Id="rId1" Type="http://schemas.openxmlformats.org/officeDocument/2006/relationships/tags" Target="../tags/tag5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9.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41.xml.rels><?xml version='1.0' encoding='UTF-8' standalone='yes'?>
<Relationships xmlns="http://schemas.openxmlformats.org/package/2006/relationships"><Relationship Id="rId1" Type="http://schemas.openxmlformats.org/officeDocument/2006/relationships/tags" Target="../tags/tag5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1.xml"/></Relationships>
</file>

<file path=ppt/slides/_rels/slide542.xml.rels><?xml version='1.0' encoding='UTF-8' standalone='yes'?>
<Relationships xmlns="http://schemas.openxmlformats.org/package/2006/relationships"><Relationship Id="rId1" Type="http://schemas.openxmlformats.org/officeDocument/2006/relationships/tags" Target="../tags/tag5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2.xml"/></Relationships>
</file>

<file path=ppt/slides/_rels/slide543.xml.rels><?xml version='1.0' encoding='UTF-8' standalone='yes'?>
<Relationships xmlns="http://schemas.openxmlformats.org/package/2006/relationships"><Relationship Id="rId1" Type="http://schemas.openxmlformats.org/officeDocument/2006/relationships/tags" Target="../tags/tag5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3.xml"/></Relationships>
</file>

<file path=ppt/slides/_rels/slide545.xml.rels><?xml version='1.0' encoding='UTF-8' standalone='yes'?>
<Relationships xmlns="http://schemas.openxmlformats.org/package/2006/relationships"><Relationship Id="rId1" Type="http://schemas.openxmlformats.org/officeDocument/2006/relationships/tags" Target="../tags/tag5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5.xml"/></Relationships>
</file>

<file path=ppt/slides/_rels/slide546.xml.rels><?xml version='1.0' encoding='UTF-8' standalone='yes'?>
<Relationships xmlns="http://schemas.openxmlformats.org/package/2006/relationships"><Relationship Id="rId1" Type="http://schemas.openxmlformats.org/officeDocument/2006/relationships/tags" Target="../tags/tag5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6.xml"/></Relationships>
</file>

<file path=ppt/slides/_rels/slide547.xml.rels><?xml version='1.0' encoding='UTF-8' standalone='yes'?>
<Relationships xmlns="http://schemas.openxmlformats.org/package/2006/relationships"><Relationship Id="rId1" Type="http://schemas.openxmlformats.org/officeDocument/2006/relationships/tags" Target="../tags/tag5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7.xml"/></Relationships>
</file>

<file path=ppt/slides/_rels/slide548.xml.rels><?xml version='1.0' encoding='UTF-8' standalone='yes'?>
<Relationships xmlns="http://schemas.openxmlformats.org/package/2006/relationships"><Relationship Id="rId1" Type="http://schemas.openxmlformats.org/officeDocument/2006/relationships/tags" Target="../tags/tag5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8.xml"/></Relationships>
</file>

<file path=ppt/slides/_rels/slide549.xml.rels><?xml version='1.0' encoding='UTF-8' standalone='yes'?>
<Relationships xmlns="http://schemas.openxmlformats.org/package/2006/relationships"><Relationship Id="rId1" Type="http://schemas.openxmlformats.org/officeDocument/2006/relationships/tags" Target="../tags/tag5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9.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50.xml.rels><?xml version='1.0' encoding='UTF-8' standalone='yes'?>
<Relationships xmlns="http://schemas.openxmlformats.org/package/2006/relationships"><Relationship Id="rId1" Type="http://schemas.openxmlformats.org/officeDocument/2006/relationships/tags" Target="../tags/tag5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0.xml"/></Relationships>
</file>

<file path=ppt/slides/_rels/slide552.xml.rels><?xml version='1.0' encoding='UTF-8' standalone='yes'?>
<Relationships xmlns="http://schemas.openxmlformats.org/package/2006/relationships"><Relationship Id="rId1" Type="http://schemas.openxmlformats.org/officeDocument/2006/relationships/tags" Target="../tags/tag5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2.xml"/></Relationships>
</file>

<file path=ppt/slides/_rels/slide553.xml.rels><?xml version='1.0' encoding='UTF-8' standalone='yes'?>
<Relationships xmlns="http://schemas.openxmlformats.org/package/2006/relationships"><Relationship Id="rId1" Type="http://schemas.openxmlformats.org/officeDocument/2006/relationships/tags" Target="../tags/tag5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3.xml"/></Relationships>
</file>

<file path=ppt/slides/_rels/slide554.xml.rels><?xml version='1.0' encoding='UTF-8' standalone='yes'?>
<Relationships xmlns="http://schemas.openxmlformats.org/package/2006/relationships"><Relationship Id="rId1" Type="http://schemas.openxmlformats.org/officeDocument/2006/relationships/tags" Target="../tags/tag5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4.xml"/></Relationships>
</file>

<file path=ppt/slides/_rels/slide556.xml.rels><?xml version='1.0' encoding='UTF-8' standalone='yes'?>
<Relationships xmlns="http://schemas.openxmlformats.org/package/2006/relationships"><Relationship Id="rId1" Type="http://schemas.openxmlformats.org/officeDocument/2006/relationships/tags" Target="../tags/tag5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6.xml"/></Relationships>
</file>

<file path=ppt/slides/_rels/slide557.xml.rels><?xml version='1.0' encoding='UTF-8' standalone='yes'?>
<Relationships xmlns="http://schemas.openxmlformats.org/package/2006/relationships"><Relationship Id="rId1" Type="http://schemas.openxmlformats.org/officeDocument/2006/relationships/tags" Target="../tags/tag5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7.xml"/></Relationships>
</file>

<file path=ppt/slides/_rels/slide558.xml.rels><?xml version='1.0' encoding='UTF-8' standalone='yes'?>
<Relationships xmlns="http://schemas.openxmlformats.org/package/2006/relationships"><Relationship Id="rId1" Type="http://schemas.openxmlformats.org/officeDocument/2006/relationships/tags" Target="../tags/tag5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8.xml"/></Relationships>
</file>

<file path=ppt/slides/_rels/slide559.xml.rels><?xml version='1.0' encoding='UTF-8' standalone='yes'?>
<Relationships xmlns="http://schemas.openxmlformats.org/package/2006/relationships"><Relationship Id="rId1" Type="http://schemas.openxmlformats.org/officeDocument/2006/relationships/tags" Target="../tags/tag5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9.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60.xml.rels><?xml version='1.0' encoding='UTF-8' standalone='yes'?>
<Relationships xmlns="http://schemas.openxmlformats.org/package/2006/relationships"><Relationship Id="rId1" Type="http://schemas.openxmlformats.org/officeDocument/2006/relationships/tags" Target="../tags/tag5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0.xml"/></Relationships>
</file>

<file path=ppt/slides/_rels/slide561.xml.rels><?xml version='1.0' encoding='UTF-8' standalone='yes'?>
<Relationships xmlns="http://schemas.openxmlformats.org/package/2006/relationships"><Relationship Id="rId1" Type="http://schemas.openxmlformats.org/officeDocument/2006/relationships/tags" Target="../tags/tag5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1.xml"/></Relationships>
</file>

<file path=ppt/slides/_rels/slide563.xml.rels><?xml version='1.0' encoding='UTF-8' standalone='yes'?>
<Relationships xmlns="http://schemas.openxmlformats.org/package/2006/relationships"><Relationship Id="rId1" Type="http://schemas.openxmlformats.org/officeDocument/2006/relationships/tags" Target="../tags/tag5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3.xml"/></Relationships>
</file>

<file path=ppt/slides/_rels/slide564.xml.rels><?xml version='1.0' encoding='UTF-8' standalone='yes'?>
<Relationships xmlns="http://schemas.openxmlformats.org/package/2006/relationships"><Relationship Id="rId1" Type="http://schemas.openxmlformats.org/officeDocument/2006/relationships/tags" Target="../tags/tag5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4.xml"/></Relationships>
</file>

<file path=ppt/slides/_rels/slide565.xml.rels><?xml version='1.0' encoding='UTF-8' standalone='yes'?>
<Relationships xmlns="http://schemas.openxmlformats.org/package/2006/relationships"><Relationship Id="rId1" Type="http://schemas.openxmlformats.org/officeDocument/2006/relationships/tags" Target="../tags/tag5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5.xml"/></Relationships>
</file>

<file path=ppt/slides/_rels/slide566.xml.rels><?xml version='1.0' encoding='UTF-8' standalone='yes'?>
<Relationships xmlns="http://schemas.openxmlformats.org/package/2006/relationships"><Relationship Id="rId1" Type="http://schemas.openxmlformats.org/officeDocument/2006/relationships/tags" Target="../tags/tag5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6.xml"/></Relationships>
</file>

<file path=ppt/slides/_rels/slide567.xml.rels><?xml version='1.0' encoding='UTF-8' standalone='yes'?>
<Relationships xmlns="http://schemas.openxmlformats.org/package/2006/relationships"><Relationship Id="rId1" Type="http://schemas.openxmlformats.org/officeDocument/2006/relationships/tags" Target="../tags/tag5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7.xml"/></Relationships>
</file>

<file path=ppt/slides/_rels/slide568.xml.rels><?xml version='1.0' encoding='UTF-8' standalone='yes'?>
<Relationships xmlns="http://schemas.openxmlformats.org/package/2006/relationships"><Relationship Id="rId1" Type="http://schemas.openxmlformats.org/officeDocument/2006/relationships/tags" Target="../tags/tag5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8.xml"/></Relationships>
</file>

<file path=ppt/slides/_rels/slide569.xml.rels><?xml version='1.0' encoding='UTF-8' standalone='yes'?>
<Relationships xmlns="http://schemas.openxmlformats.org/package/2006/relationships"><Relationship Id="rId1" Type="http://schemas.openxmlformats.org/officeDocument/2006/relationships/tags" Target="../tags/tag5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9.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70.xml.rels><?xml version='1.0' encoding='UTF-8' standalone='yes'?>
<Relationships xmlns="http://schemas.openxmlformats.org/package/2006/relationships"><Relationship Id="rId1" Type="http://schemas.openxmlformats.org/officeDocument/2006/relationships/tags" Target="../tags/tag5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0.xml"/></Relationships>
</file>

<file path=ppt/slides/_rels/slide571.xml.rels><?xml version='1.0' encoding='UTF-8' standalone='yes'?>
<Relationships xmlns="http://schemas.openxmlformats.org/package/2006/relationships"><Relationship Id="rId1" Type="http://schemas.openxmlformats.org/officeDocument/2006/relationships/tags" Target="../tags/tag5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1.xml"/></Relationships>
</file>

<file path=ppt/slides/_rels/slide572.xml.rels><?xml version='1.0' encoding='UTF-8' standalone='yes'?>
<Relationships xmlns="http://schemas.openxmlformats.org/package/2006/relationships"><Relationship Id="rId1" Type="http://schemas.openxmlformats.org/officeDocument/2006/relationships/tags" Target="../tags/tag5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2.xml"/></Relationships>
</file>

<file path=ppt/slides/_rels/slide574.xml.rels><?xml version='1.0' encoding='UTF-8' standalone='yes'?>
<Relationships xmlns="http://schemas.openxmlformats.org/package/2006/relationships"><Relationship Id="rId1" Type="http://schemas.openxmlformats.org/officeDocument/2006/relationships/tags" Target="../tags/tag6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4.xml"/></Relationships>
</file>

<file path=ppt/slides/_rels/slide575.xml.rels><?xml version='1.0' encoding='UTF-8' standalone='yes'?>
<Relationships xmlns="http://schemas.openxmlformats.org/package/2006/relationships"><Relationship Id="rId1" Type="http://schemas.openxmlformats.org/officeDocument/2006/relationships/tags" Target="../tags/tag6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5.xml"/></Relationships>
</file>

<file path=ppt/slides/_rels/slide576.xml.rels><?xml version='1.0' encoding='UTF-8' standalone='yes'?>
<Relationships xmlns="http://schemas.openxmlformats.org/package/2006/relationships"><Relationship Id="rId1" Type="http://schemas.openxmlformats.org/officeDocument/2006/relationships/tags" Target="../tags/tag6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6.xml"/></Relationships>
</file>

<file path=ppt/slides/_rels/slide577.xml.rels><?xml version='1.0' encoding='UTF-8' standalone='yes'?>
<Relationships xmlns="http://schemas.openxmlformats.org/package/2006/relationships"><Relationship Id="rId1" Type="http://schemas.openxmlformats.org/officeDocument/2006/relationships/tags" Target="../tags/tag6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7.xml"/></Relationships>
</file>

<file path=ppt/slides/_rels/slide578.xml.rels><?xml version='1.0' encoding='UTF-8' standalone='yes'?>
<Relationships xmlns="http://schemas.openxmlformats.org/package/2006/relationships"><Relationship Id="rId1" Type="http://schemas.openxmlformats.org/officeDocument/2006/relationships/tags" Target="../tags/tag6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8.xml"/></Relationships>
</file>

<file path=ppt/slides/_rels/slide579.xml.rels><?xml version='1.0' encoding='UTF-8' standalone='yes'?>
<Relationships xmlns="http://schemas.openxmlformats.org/package/2006/relationships"><Relationship Id="rId1" Type="http://schemas.openxmlformats.org/officeDocument/2006/relationships/tags" Target="../tags/tag6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9.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580.xml.rels><?xml version='1.0' encoding='UTF-8' standalone='yes'?>
<Relationships xmlns="http://schemas.openxmlformats.org/package/2006/relationships"><Relationship Id="rId1" Type="http://schemas.openxmlformats.org/officeDocument/2006/relationships/tags" Target="../tags/tag6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0.xml"/></Relationships>
</file>

<file path=ppt/slides/_rels/slide581.xml.rels><?xml version='1.0' encoding='UTF-8' standalone='yes'?>
<Relationships xmlns="http://schemas.openxmlformats.org/package/2006/relationships"><Relationship Id="rId1" Type="http://schemas.openxmlformats.org/officeDocument/2006/relationships/tags" Target="../tags/tag6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1.xml"/></Relationships>
</file>

<file path=ppt/slides/_rels/slide582.xml.rels><?xml version='1.0' encoding='UTF-8' standalone='yes'?>
<Relationships xmlns="http://schemas.openxmlformats.org/package/2006/relationships"><Relationship Id="rId1" Type="http://schemas.openxmlformats.org/officeDocument/2006/relationships/tags" Target="../tags/tag6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2.xml"/></Relationships>
</file>

<file path=ppt/slides/_rels/slide583.xml.rels><?xml version='1.0' encoding='UTF-8' standalone='yes'?>
<Relationships xmlns="http://schemas.openxmlformats.org/package/2006/relationships"><Relationship Id="rId1" Type="http://schemas.openxmlformats.org/officeDocument/2006/relationships/tags" Target="../tags/tag6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3.xml"/></Relationships>
</file>

<file path=ppt/slides/_rels/slide585.xml.rels><?xml version='1.0' encoding='UTF-8' standalone='yes'?>
<Relationships xmlns="http://schemas.openxmlformats.org/package/2006/relationships"><Relationship Id="rId1" Type="http://schemas.openxmlformats.org/officeDocument/2006/relationships/tags" Target="../tags/tag6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5.xml"/></Relationships>
</file>

<file path=ppt/slides/_rels/slide587.xml.rels><?xml version='1.0' encoding='UTF-8' standalone='yes'?>
<Relationships xmlns="http://schemas.openxmlformats.org/package/2006/relationships"><Relationship Id="rId1" Type="http://schemas.openxmlformats.org/officeDocument/2006/relationships/tags" Target="../tags/tag6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7.xml"/></Relationships>
</file>

<file path=ppt/slides/_rels/slide588.xml.rels><?xml version='1.0' encoding='UTF-8' standalone='yes'?>
<Relationships xmlns="http://schemas.openxmlformats.org/package/2006/relationships"><Relationship Id="rId1" Type="http://schemas.openxmlformats.org/officeDocument/2006/relationships/tags" Target="../tags/tag6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8.xml"/></Relationships>
</file>

<file path=ppt/slides/_rels/slide589.xml.rels><?xml version='1.0' encoding='UTF-8' standalone='yes'?>
<Relationships xmlns="http://schemas.openxmlformats.org/package/2006/relationships"><Relationship Id="rId1" Type="http://schemas.openxmlformats.org/officeDocument/2006/relationships/tags" Target="../tags/tag6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9.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s>
</file>

<file path=ppt/slides/_rels/slide590.xml.rels><?xml version='1.0' encoding='UTF-8' standalone='yes'?>
<Relationships xmlns="http://schemas.openxmlformats.org/package/2006/relationships"><Relationship Id="rId1" Type="http://schemas.openxmlformats.org/officeDocument/2006/relationships/tags" Target="../tags/tag6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0.xml"/></Relationships>
</file>

<file path=ppt/slides/_rels/slide592.xml.rels><?xml version='1.0' encoding='UTF-8' standalone='yes'?>
<Relationships xmlns="http://schemas.openxmlformats.org/package/2006/relationships"><Relationship Id="rId1" Type="http://schemas.openxmlformats.org/officeDocument/2006/relationships/tags" Target="../tags/tag6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2.xml"/></Relationships>
</file>

<file path=ppt/slides/_rels/slide593.xml.rels><?xml version='1.0' encoding='UTF-8' standalone='yes'?>
<Relationships xmlns="http://schemas.openxmlformats.org/package/2006/relationships"><Relationship Id="rId1" Type="http://schemas.openxmlformats.org/officeDocument/2006/relationships/tags" Target="../tags/tag6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3.xml"/></Relationships>
</file>

<file path=ppt/slides/_rels/slide594.xml.rels><?xml version='1.0' encoding='UTF-8' standalone='yes'?>
<Relationships xmlns="http://schemas.openxmlformats.org/package/2006/relationships"><Relationship Id="rId1" Type="http://schemas.openxmlformats.org/officeDocument/2006/relationships/tags" Target="../tags/tag6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4.xml"/></Relationships>
</file>

<file path=ppt/slides/_rels/slide597.xml.rels><?xml version='1.0' encoding='UTF-8' standalone='yes'?>
<Relationships xmlns="http://schemas.openxmlformats.org/package/2006/relationships"><Relationship Id="rId1" Type="http://schemas.openxmlformats.org/officeDocument/2006/relationships/tags" Target="../tags/tag6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7.xml"/></Relationships>
</file>

<file path=ppt/slides/_rels/slide598.xml.rels><?xml version='1.0' encoding='UTF-8' standalone='yes'?>
<Relationships xmlns="http://schemas.openxmlformats.org/package/2006/relationships"><Relationship Id="rId1" Type="http://schemas.openxmlformats.org/officeDocument/2006/relationships/tags" Target="../tags/tag6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8.xml"/></Relationships>
</file>

<file path=ppt/slides/_rels/slide599.xml.rels><?xml version='1.0' encoding='UTF-8' standalone='yes'?>
<Relationships xmlns="http://schemas.openxmlformats.org/package/2006/relationships"><Relationship Id="rId1" Type="http://schemas.openxmlformats.org/officeDocument/2006/relationships/tags" Target="../tags/tag6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01.xml.rels><?xml version='1.0' encoding='UTF-8' standalone='yes'?>
<Relationships xmlns="http://schemas.openxmlformats.org/package/2006/relationships"><Relationship Id="rId1" Type="http://schemas.openxmlformats.org/officeDocument/2006/relationships/tags" Target="../tags/tag6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1.xml"/></Relationships>
</file>

<file path=ppt/slides/_rels/slide602.xml.rels><?xml version='1.0' encoding='UTF-8' standalone='yes'?>
<Relationships xmlns="http://schemas.openxmlformats.org/package/2006/relationships"><Relationship Id="rId1" Type="http://schemas.openxmlformats.org/officeDocument/2006/relationships/tags" Target="../tags/tag6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2.xml"/></Relationships>
</file>

<file path=ppt/slides/_rels/slide603.xml.rels><?xml version='1.0' encoding='UTF-8' standalone='yes'?>
<Relationships xmlns="http://schemas.openxmlformats.org/package/2006/relationships"><Relationship Id="rId1" Type="http://schemas.openxmlformats.org/officeDocument/2006/relationships/tags" Target="../tags/tag6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3.xml"/></Relationships>
</file>

<file path=ppt/slides/_rels/slide604.xml.rels><?xml version='1.0' encoding='UTF-8' standalone='yes'?>
<Relationships xmlns="http://schemas.openxmlformats.org/package/2006/relationships"><Relationship Id="rId1" Type="http://schemas.openxmlformats.org/officeDocument/2006/relationships/tags" Target="../tags/tag6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4.xml"/></Relationships>
</file>

<file path=ppt/slides/_rels/slide606.xml.rels><?xml version='1.0' encoding='UTF-8' standalone='yes'?>
<Relationships xmlns="http://schemas.openxmlformats.org/package/2006/relationships"><Relationship Id="rId1" Type="http://schemas.openxmlformats.org/officeDocument/2006/relationships/tags" Target="../tags/tag6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6.xml"/></Relationships>
</file>

<file path=ppt/slides/_rels/slide608.xml.rels><?xml version='1.0' encoding='UTF-8' standalone='yes'?>
<Relationships xmlns="http://schemas.openxmlformats.org/package/2006/relationships"><Relationship Id="rId1" Type="http://schemas.openxmlformats.org/officeDocument/2006/relationships/tags" Target="../tags/tag6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8.xml"/></Relationships>
</file>

<file path=ppt/slides/_rels/slide609.xml.rels><?xml version='1.0' encoding='UTF-8' standalone='yes'?>
<Relationships xmlns="http://schemas.openxmlformats.org/package/2006/relationships"><Relationship Id="rId1" Type="http://schemas.openxmlformats.org/officeDocument/2006/relationships/tags" Target="../tags/tag6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9.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s>
</file>

<file path=ppt/slides/_rels/slide610.xml.rels><?xml version='1.0' encoding='UTF-8' standalone='yes'?>
<Relationships xmlns="http://schemas.openxmlformats.org/package/2006/relationships"><Relationship Id="rId1" Type="http://schemas.openxmlformats.org/officeDocument/2006/relationships/tags" Target="../tags/tag6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0.xml"/></Relationships>
</file>

<file path=ppt/slides/_rels/slide612.xml.rels><?xml version='1.0' encoding='UTF-8' standalone='yes'?>
<Relationships xmlns="http://schemas.openxmlformats.org/package/2006/relationships"><Relationship Id="rId1" Type="http://schemas.openxmlformats.org/officeDocument/2006/relationships/tags" Target="../tags/tag6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2.xml"/></Relationships>
</file>

<file path=ppt/slides/_rels/slide613.xml.rels><?xml version='1.0' encoding='UTF-8' standalone='yes'?>
<Relationships xmlns="http://schemas.openxmlformats.org/package/2006/relationships"><Relationship Id="rId1" Type="http://schemas.openxmlformats.org/officeDocument/2006/relationships/tags" Target="../tags/tag6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3.xml"/></Relationships>
</file>

<file path=ppt/slides/_rels/slide614.xml.rels><?xml version='1.0' encoding='UTF-8' standalone='yes'?>
<Relationships xmlns="http://schemas.openxmlformats.org/package/2006/relationships"><Relationship Id="rId1" Type="http://schemas.openxmlformats.org/officeDocument/2006/relationships/tags" Target="../tags/tag6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4.xml"/></Relationships>
</file>

<file path=ppt/slides/_rels/slide615.xml.rels><?xml version='1.0' encoding='UTF-8' standalone='yes'?>
<Relationships xmlns="http://schemas.openxmlformats.org/package/2006/relationships"><Relationship Id="rId1" Type="http://schemas.openxmlformats.org/officeDocument/2006/relationships/tags" Target="../tags/tag6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5.xml"/></Relationships>
</file>

<file path=ppt/slides/_rels/slide616.xml.rels><?xml version='1.0' encoding='UTF-8' standalone='yes'?>
<Relationships xmlns="http://schemas.openxmlformats.org/package/2006/relationships"><Relationship Id="rId1" Type="http://schemas.openxmlformats.org/officeDocument/2006/relationships/tags" Target="../tags/tag6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6.xml"/></Relationships>
</file>

<file path=ppt/slides/_rels/slide617.xml.rels><?xml version='1.0' encoding='UTF-8' standalone='yes'?>
<Relationships xmlns="http://schemas.openxmlformats.org/package/2006/relationships"><Relationship Id="rId1" Type="http://schemas.openxmlformats.org/officeDocument/2006/relationships/tags" Target="../tags/tag6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7.xml"/></Relationships>
</file>

<file path=ppt/slides/_rels/slide619.xml.rels><?xml version='1.0' encoding='UTF-8' standalone='yes'?>
<Relationships xmlns="http://schemas.openxmlformats.org/package/2006/relationships"><Relationship Id="rId1" Type="http://schemas.openxmlformats.org/officeDocument/2006/relationships/tags" Target="../tags/tag6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9.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xml"/></Relationships>
</file>

<file path=ppt/slides/_rels/slide620.xml.rels><?xml version='1.0' encoding='UTF-8' standalone='yes'?>
<Relationships xmlns="http://schemas.openxmlformats.org/package/2006/relationships"><Relationship Id="rId1" Type="http://schemas.openxmlformats.org/officeDocument/2006/relationships/tags" Target="../tags/tag6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0.xml"/></Relationships>
</file>

<file path=ppt/slides/_rels/slide621.xml.rels><?xml version='1.0' encoding='UTF-8' standalone='yes'?>
<Relationships xmlns="http://schemas.openxmlformats.org/package/2006/relationships"><Relationship Id="rId1" Type="http://schemas.openxmlformats.org/officeDocument/2006/relationships/tags" Target="../tags/tag6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1.xml"/></Relationships>
</file>

<file path=ppt/slides/_rels/slide623.xml.rels><?xml version='1.0' encoding='UTF-8' standalone='yes'?>
<Relationships xmlns="http://schemas.openxmlformats.org/package/2006/relationships"><Relationship Id="rId1" Type="http://schemas.openxmlformats.org/officeDocument/2006/relationships/tags" Target="../tags/tag6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3.xml"/></Relationships>
</file>

<file path=ppt/slides/_rels/slide624.xml.rels><?xml version='1.0' encoding='UTF-8' standalone='yes'?>
<Relationships xmlns="http://schemas.openxmlformats.org/package/2006/relationships"><Relationship Id="rId1" Type="http://schemas.openxmlformats.org/officeDocument/2006/relationships/tags" Target="../tags/tag6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4.xml"/></Relationships>
</file>

<file path=ppt/slides/_rels/slide625.xml.rels><?xml version='1.0' encoding='UTF-8' standalone='yes'?>
<Relationships xmlns="http://schemas.openxmlformats.org/package/2006/relationships"><Relationship Id="rId1" Type="http://schemas.openxmlformats.org/officeDocument/2006/relationships/tags" Target="../tags/tag6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5.xml"/></Relationships>
</file>

<file path=ppt/slides/_rels/slide626.xml.rels><?xml version='1.0' encoding='UTF-8' standalone='yes'?>
<Relationships xmlns="http://schemas.openxmlformats.org/package/2006/relationships"><Relationship Id="rId1" Type="http://schemas.openxmlformats.org/officeDocument/2006/relationships/tags" Target="../tags/tag6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6.xml"/></Relationships>
</file>

<file path=ppt/slides/_rels/slide627.xml.rels><?xml version='1.0' encoding='UTF-8' standalone='yes'?>
<Relationships xmlns="http://schemas.openxmlformats.org/package/2006/relationships"><Relationship Id="rId1" Type="http://schemas.openxmlformats.org/officeDocument/2006/relationships/tags" Target="../tags/tag6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7.xml"/></Relationships>
</file>

<file path=ppt/slides/_rels/slide628.xml.rels><?xml version='1.0' encoding='UTF-8' standalone='yes'?>
<Relationships xmlns="http://schemas.openxmlformats.org/package/2006/relationships"><Relationship Id="rId1" Type="http://schemas.openxmlformats.org/officeDocument/2006/relationships/tags" Target="../tags/tag6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8.xml"/></Relationships>
</file>

<file path=ppt/slides/_rels/slide630.xml.rels><?xml version='1.0' encoding='UTF-8' standalone='yes'?>
<Relationships xmlns="http://schemas.openxmlformats.org/package/2006/relationships"><Relationship Id="rId1" Type="http://schemas.openxmlformats.org/officeDocument/2006/relationships/tags" Target="../tags/tag6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0.xml"/></Relationships>
</file>

<file path=ppt/slides/_rels/slide631.xml.rels><?xml version='1.0' encoding='UTF-8' standalone='yes'?>
<Relationships xmlns="http://schemas.openxmlformats.org/package/2006/relationships"><Relationship Id="rId1" Type="http://schemas.openxmlformats.org/officeDocument/2006/relationships/tags" Target="../tags/tag6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1.xml"/></Relationships>
</file>

<file path=ppt/slides/_rels/slide632.xml.rels><?xml version='1.0' encoding='UTF-8' standalone='yes'?>
<Relationships xmlns="http://schemas.openxmlformats.org/package/2006/relationships"><Relationship Id="rId1" Type="http://schemas.openxmlformats.org/officeDocument/2006/relationships/tags" Target="../tags/tag6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2.xml"/></Relationships>
</file>

<file path=ppt/slides/_rels/slide633.xml.rels><?xml version='1.0' encoding='UTF-8' standalone='yes'?>
<Relationships xmlns="http://schemas.openxmlformats.org/package/2006/relationships"><Relationship Id="rId1" Type="http://schemas.openxmlformats.org/officeDocument/2006/relationships/tags" Target="../tags/tag6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3.xml"/></Relationships>
</file>

<file path=ppt/slides/_rels/slide634.xml.rels><?xml version='1.0' encoding='UTF-8' standalone='yes'?>
<Relationships xmlns="http://schemas.openxmlformats.org/package/2006/relationships"><Relationship Id="rId1" Type="http://schemas.openxmlformats.org/officeDocument/2006/relationships/tags" Target="../tags/tag6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4.xml"/></Relationships>
</file>

<file path=ppt/slides/_rels/slide635.xml.rels><?xml version='1.0' encoding='UTF-8' standalone='yes'?>
<Relationships xmlns="http://schemas.openxmlformats.org/package/2006/relationships"><Relationship Id="rId1" Type="http://schemas.openxmlformats.org/officeDocument/2006/relationships/tags" Target="../tags/tag6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5.xml"/></Relationships>
</file>

<file path=ppt/slides/_rels/slide636.xml.rels><?xml version='1.0' encoding='UTF-8' standalone='yes'?>
<Relationships xmlns="http://schemas.openxmlformats.org/package/2006/relationships"><Relationship Id="rId1" Type="http://schemas.openxmlformats.org/officeDocument/2006/relationships/tags" Target="../tags/tag6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6.xml"/></Relationships>
</file>

<file path=ppt/slides/_rels/slide637.xml.rels><?xml version='1.0' encoding='UTF-8' standalone='yes'?>
<Relationships xmlns="http://schemas.openxmlformats.org/package/2006/relationships"><Relationship Id="rId1" Type="http://schemas.openxmlformats.org/officeDocument/2006/relationships/tags" Target="../tags/tag6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7.xml"/></Relationships>
</file>

<file path=ppt/slides/_rels/slide638.xml.rels><?xml version='1.0' encoding='UTF-8' standalone='yes'?>
<Relationships xmlns="http://schemas.openxmlformats.org/package/2006/relationships"><Relationship Id="rId1" Type="http://schemas.openxmlformats.org/officeDocument/2006/relationships/tags" Target="../tags/tag6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8.xml"/></Relationships>
</file>

<file path=ppt/slides/_rels/slide639.xml.rels><?xml version='1.0' encoding='UTF-8' standalone='yes'?>
<Relationships xmlns="http://schemas.openxmlformats.org/package/2006/relationships"><Relationship Id="rId1" Type="http://schemas.openxmlformats.org/officeDocument/2006/relationships/tags" Target="../tags/tag6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9.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xml"/></Relationships>
</file>

<file path=ppt/slides/_rels/slide641.xml.rels><?xml version='1.0' encoding='UTF-8' standalone='yes'?>
<Relationships xmlns="http://schemas.openxmlformats.org/package/2006/relationships"><Relationship Id="rId1" Type="http://schemas.openxmlformats.org/officeDocument/2006/relationships/tags" Target="../tags/tag6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1.xml"/></Relationships>
</file>

<file path=ppt/slides/_rels/slide642.xml.rels><?xml version='1.0' encoding='UTF-8' standalone='yes'?>
<Relationships xmlns="http://schemas.openxmlformats.org/package/2006/relationships"><Relationship Id="rId1" Type="http://schemas.openxmlformats.org/officeDocument/2006/relationships/tags" Target="../tags/tag6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2.xml"/></Relationships>
</file>

<file path=ppt/slides/_rels/slide643.xml.rels><?xml version='1.0' encoding='UTF-8' standalone='yes'?>
<Relationships xmlns="http://schemas.openxmlformats.org/package/2006/relationships"><Relationship Id="rId1" Type="http://schemas.openxmlformats.org/officeDocument/2006/relationships/tags" Target="../tags/tag6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3.xml"/></Relationships>
</file>

<file path=ppt/slides/_rels/slide644.xml.rels><?xml version='1.0' encoding='UTF-8' standalone='yes'?>
<Relationships xmlns="http://schemas.openxmlformats.org/package/2006/relationships"><Relationship Id="rId1" Type="http://schemas.openxmlformats.org/officeDocument/2006/relationships/tags" Target="../tags/tag6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4.xml"/></Relationships>
</file>

<file path=ppt/slides/_rels/slide645.xml.rels><?xml version='1.0' encoding='UTF-8' standalone='yes'?>
<Relationships xmlns="http://schemas.openxmlformats.org/package/2006/relationships"><Relationship Id="rId1" Type="http://schemas.openxmlformats.org/officeDocument/2006/relationships/tags" Target="../tags/tag6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5.xml"/></Relationships>
</file>

<file path=ppt/slides/_rels/slide646.xml.rels><?xml version='1.0' encoding='UTF-8' standalone='yes'?>
<Relationships xmlns="http://schemas.openxmlformats.org/package/2006/relationships"><Relationship Id="rId1" Type="http://schemas.openxmlformats.org/officeDocument/2006/relationships/tags" Target="../tags/tag6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6.xml"/></Relationships>
</file>

<file path=ppt/slides/_rels/slide648.xml.rels><?xml version='1.0' encoding='UTF-8' standalone='yes'?>
<Relationships xmlns="http://schemas.openxmlformats.org/package/2006/relationships"><Relationship Id="rId1" Type="http://schemas.openxmlformats.org/officeDocument/2006/relationships/tags" Target="../tags/tag6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8.xml"/></Relationships>
</file>

<file path=ppt/slides/_rels/slide649.xml.rels><?xml version='1.0' encoding='UTF-8' standalone='yes'?>
<Relationships xmlns="http://schemas.openxmlformats.org/package/2006/relationships"><Relationship Id="rId1" Type="http://schemas.openxmlformats.org/officeDocument/2006/relationships/tags" Target="../tags/tag6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9.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xml"/></Relationships>
</file>

<file path=ppt/slides/_rels/slide650.xml.rels><?xml version='1.0' encoding='UTF-8' standalone='yes'?>
<Relationships xmlns="http://schemas.openxmlformats.org/package/2006/relationships"><Relationship Id="rId1" Type="http://schemas.openxmlformats.org/officeDocument/2006/relationships/tags" Target="../tags/tag6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0.xml"/></Relationships>
</file>

<file path=ppt/slides/_rels/slide652.xml.rels><?xml version='1.0' encoding='UTF-8' standalone='yes'?>
<Relationships xmlns="http://schemas.openxmlformats.org/package/2006/relationships"><Relationship Id="rId1" Type="http://schemas.openxmlformats.org/officeDocument/2006/relationships/tags" Target="../tags/tag6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2.xml"/></Relationships>
</file>

<file path=ppt/slides/_rels/slide653.xml.rels><?xml version='1.0' encoding='UTF-8' standalone='yes'?>
<Relationships xmlns="http://schemas.openxmlformats.org/package/2006/relationships"><Relationship Id="rId1" Type="http://schemas.openxmlformats.org/officeDocument/2006/relationships/tags" Target="../tags/tag6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3.xml"/></Relationships>
</file>

<file path=ppt/slides/_rels/slide654.xml.rels><?xml version='1.0' encoding='UTF-8' standalone='yes'?>
<Relationships xmlns="http://schemas.openxmlformats.org/package/2006/relationships"><Relationship Id="rId1" Type="http://schemas.openxmlformats.org/officeDocument/2006/relationships/tags" Target="../tags/tag6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4.xml"/></Relationships>
</file>

<file path=ppt/slides/_rels/slide655.xml.rels><?xml version='1.0' encoding='UTF-8' standalone='yes'?>
<Relationships xmlns="http://schemas.openxmlformats.org/package/2006/relationships"><Relationship Id="rId1" Type="http://schemas.openxmlformats.org/officeDocument/2006/relationships/tags" Target="../tags/tag6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5.xml"/></Relationships>
</file>

<file path=ppt/slides/_rels/slide656.xml.rels><?xml version='1.0' encoding='UTF-8' standalone='yes'?>
<Relationships xmlns="http://schemas.openxmlformats.org/package/2006/relationships"><Relationship Id="rId1" Type="http://schemas.openxmlformats.org/officeDocument/2006/relationships/tags" Target="../tags/tag6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6.xml"/></Relationships>
</file>

<file path=ppt/slides/_rels/slide657.xml.rels><?xml version='1.0' encoding='UTF-8' standalone='yes'?>
<Relationships xmlns="http://schemas.openxmlformats.org/package/2006/relationships"><Relationship Id="rId1" Type="http://schemas.openxmlformats.org/officeDocument/2006/relationships/tags" Target="../tags/tag6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7.xml"/></Relationships>
</file>

<file path=ppt/slides/_rels/slide659.xml.rels><?xml version='1.0' encoding='UTF-8' standalone='yes'?>
<Relationships xmlns="http://schemas.openxmlformats.org/package/2006/relationships"><Relationship Id="rId1" Type="http://schemas.openxmlformats.org/officeDocument/2006/relationships/tags" Target="../tags/tag6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9.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xml"/></Relationships>
</file>

<file path=ppt/slides/_rels/slide660.xml.rels><?xml version='1.0' encoding='UTF-8' standalone='yes'?>
<Relationships xmlns="http://schemas.openxmlformats.org/package/2006/relationships"><Relationship Id="rId1" Type="http://schemas.openxmlformats.org/officeDocument/2006/relationships/tags" Target="../tags/tag6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0.xml"/></Relationships>
</file>

<file path=ppt/slides/_rels/slide661.xml.rels><?xml version='1.0' encoding='UTF-8' standalone='yes'?>
<Relationships xmlns="http://schemas.openxmlformats.org/package/2006/relationships"><Relationship Id="rId1" Type="http://schemas.openxmlformats.org/officeDocument/2006/relationships/tags" Target="../tags/tag6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1.xml"/></Relationships>
</file>

<file path=ppt/slides/_rels/slide663.xml.rels><?xml version='1.0' encoding='UTF-8' standalone='yes'?>
<Relationships xmlns="http://schemas.openxmlformats.org/package/2006/relationships"><Relationship Id="rId1" Type="http://schemas.openxmlformats.org/officeDocument/2006/relationships/tags" Target="../tags/tag6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3.xml"/></Relationships>
</file>

<file path=ppt/slides/_rels/slide664.xml.rels><?xml version='1.0' encoding='UTF-8' standalone='yes'?>
<Relationships xmlns="http://schemas.openxmlformats.org/package/2006/relationships"><Relationship Id="rId1" Type="http://schemas.openxmlformats.org/officeDocument/2006/relationships/tags" Target="../tags/tag6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4.xml"/></Relationships>
</file>

<file path=ppt/slides/_rels/slide665.xml.rels><?xml version='1.0' encoding='UTF-8' standalone='yes'?>
<Relationships xmlns="http://schemas.openxmlformats.org/package/2006/relationships"><Relationship Id="rId1" Type="http://schemas.openxmlformats.org/officeDocument/2006/relationships/tags" Target="../tags/tag6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5.xml"/></Relationships>
</file>

<file path=ppt/slides/_rels/slide666.xml.rels><?xml version='1.0' encoding='UTF-8' standalone='yes'?>
<Relationships xmlns="http://schemas.openxmlformats.org/package/2006/relationships"><Relationship Id="rId1" Type="http://schemas.openxmlformats.org/officeDocument/2006/relationships/tags" Target="../tags/tag6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6.xml"/></Relationships>
</file>

<file path=ppt/slides/_rels/slide667.xml.rels><?xml version='1.0' encoding='UTF-8' standalone='yes'?>
<Relationships xmlns="http://schemas.openxmlformats.org/package/2006/relationships"><Relationship Id="rId1" Type="http://schemas.openxmlformats.org/officeDocument/2006/relationships/tags" Target="../tags/tag6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7.xml"/></Relationships>
</file>

<file path=ppt/slides/_rels/slide668.xml.rels><?xml version='1.0' encoding='UTF-8' standalone='yes'?>
<Relationships xmlns="http://schemas.openxmlformats.org/package/2006/relationships"><Relationship Id="rId1" Type="http://schemas.openxmlformats.org/officeDocument/2006/relationships/tags" Target="../tags/tag6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8.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xml"/></Relationships>
</file>

<file path=ppt/slides/_rels/slide670.xml.rels><?xml version='1.0' encoding='UTF-8' standalone='yes'?>
<Relationships xmlns="http://schemas.openxmlformats.org/package/2006/relationships"><Relationship Id="rId1" Type="http://schemas.openxmlformats.org/officeDocument/2006/relationships/tags" Target="../tags/tag6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0.xml"/></Relationships>
</file>

<file path=ppt/slides/_rels/slide671.xml.rels><?xml version='1.0' encoding='UTF-8' standalone='yes'?>
<Relationships xmlns="http://schemas.openxmlformats.org/package/2006/relationships"><Relationship Id="rId1" Type="http://schemas.openxmlformats.org/officeDocument/2006/relationships/tags" Target="../tags/tag6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1.xml"/></Relationships>
</file>

<file path=ppt/slides/_rels/slide672.xml.rels><?xml version='1.0' encoding='UTF-8' standalone='yes'?>
<Relationships xmlns="http://schemas.openxmlformats.org/package/2006/relationships"><Relationship Id="rId1" Type="http://schemas.openxmlformats.org/officeDocument/2006/relationships/tags" Target="../tags/tag6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2.xml"/></Relationships>
</file>

<file path=ppt/slides/_rels/slide674.xml.rels><?xml version='1.0' encoding='UTF-8' standalone='yes'?>
<Relationships xmlns="http://schemas.openxmlformats.org/package/2006/relationships"><Relationship Id="rId1" Type="http://schemas.openxmlformats.org/officeDocument/2006/relationships/tags" Target="../tags/tag7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4.xml"/></Relationships>
</file>

<file path=ppt/slides/_rels/slide675.xml.rels><?xml version='1.0' encoding='UTF-8' standalone='yes'?>
<Relationships xmlns="http://schemas.openxmlformats.org/package/2006/relationships"><Relationship Id="rId1" Type="http://schemas.openxmlformats.org/officeDocument/2006/relationships/tags" Target="../tags/tag7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5.xml"/></Relationships>
</file>

<file path=ppt/slides/_rels/slide676.xml.rels><?xml version='1.0' encoding='UTF-8' standalone='yes'?>
<Relationships xmlns="http://schemas.openxmlformats.org/package/2006/relationships"><Relationship Id="rId1" Type="http://schemas.openxmlformats.org/officeDocument/2006/relationships/tags" Target="../tags/tag7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6.xml"/></Relationships>
</file>

<file path=ppt/slides/_rels/slide677.xml.rels><?xml version='1.0' encoding='UTF-8' standalone='yes'?>
<Relationships xmlns="http://schemas.openxmlformats.org/package/2006/relationships"><Relationship Id="rId1" Type="http://schemas.openxmlformats.org/officeDocument/2006/relationships/tags" Target="../tags/tag7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7.xml"/></Relationships>
</file>

<file path=ppt/slides/_rels/slide678.xml.rels><?xml version='1.0' encoding='UTF-8' standalone='yes'?>
<Relationships xmlns="http://schemas.openxmlformats.org/package/2006/relationships"><Relationship Id="rId1" Type="http://schemas.openxmlformats.org/officeDocument/2006/relationships/tags" Target="../tags/tag7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8.xml"/></Relationships>
</file>

<file path=ppt/slides/_rels/slide679.xml.rels><?xml version='1.0' encoding='UTF-8' standalone='yes'?>
<Relationships xmlns="http://schemas.openxmlformats.org/package/2006/relationships"><Relationship Id="rId1" Type="http://schemas.openxmlformats.org/officeDocument/2006/relationships/tags" Target="../tags/tag7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9.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xml"/></Relationships>
</file>

<file path=ppt/slides/_rels/slide681.xml.rels><?xml version='1.0' encoding='UTF-8' standalone='yes'?>
<Relationships xmlns="http://schemas.openxmlformats.org/package/2006/relationships"><Relationship Id="rId1" Type="http://schemas.openxmlformats.org/officeDocument/2006/relationships/tags" Target="../tags/tag7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1.xml"/></Relationships>
</file>

<file path=ppt/slides/_rels/slide682.xml.rels><?xml version='1.0' encoding='UTF-8' standalone='yes'?>
<Relationships xmlns="http://schemas.openxmlformats.org/package/2006/relationships"><Relationship Id="rId1" Type="http://schemas.openxmlformats.org/officeDocument/2006/relationships/tags" Target="../tags/tag7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2.xml"/></Relationships>
</file>

<file path=ppt/slides/_rels/slide683.xml.rels><?xml version='1.0' encoding='UTF-8' standalone='yes'?>
<Relationships xmlns="http://schemas.openxmlformats.org/package/2006/relationships"><Relationship Id="rId1" Type="http://schemas.openxmlformats.org/officeDocument/2006/relationships/tags" Target="../tags/tag7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3.xml"/></Relationships>
</file>

<file path=ppt/slides/_rels/slide685.xml.rels><?xml version='1.0' encoding='UTF-8' standalone='yes'?>
<Relationships xmlns="http://schemas.openxmlformats.org/package/2006/relationships"><Relationship Id="rId1" Type="http://schemas.openxmlformats.org/officeDocument/2006/relationships/tags" Target="../tags/tag7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5.xml"/></Relationships>
</file>

<file path=ppt/slides/_rels/slide686.xml.rels><?xml version='1.0' encoding='UTF-8' standalone='yes'?>
<Relationships xmlns="http://schemas.openxmlformats.org/package/2006/relationships"><Relationship Id="rId1" Type="http://schemas.openxmlformats.org/officeDocument/2006/relationships/tags" Target="../tags/tag7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6.xml"/></Relationships>
</file>

<file path=ppt/slides/_rels/slide687.xml.rels><?xml version='1.0' encoding='UTF-8' standalone='yes'?>
<Relationships xmlns="http://schemas.openxmlformats.org/package/2006/relationships"><Relationship Id="rId1" Type="http://schemas.openxmlformats.org/officeDocument/2006/relationships/tags" Target="../tags/tag7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7.xml"/></Relationships>
</file>

<file path=ppt/slides/_rels/slide688.xml.rels><?xml version='1.0' encoding='UTF-8' standalone='yes'?>
<Relationships xmlns="http://schemas.openxmlformats.org/package/2006/relationships"><Relationship Id="rId1" Type="http://schemas.openxmlformats.org/officeDocument/2006/relationships/tags" Target="../tags/tag7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8.xml"/></Relationships>
</file>

<file path=ppt/slides/_rels/slide689.xml.rels><?xml version='1.0' encoding='UTF-8' standalone='yes'?>
<Relationships xmlns="http://schemas.openxmlformats.org/package/2006/relationships"><Relationship Id="rId1" Type="http://schemas.openxmlformats.org/officeDocument/2006/relationships/tags" Target="../tags/tag7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9.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s>
</file>

<file path=ppt/slides/_rels/slide690.xml.rels><?xml version='1.0' encoding='UTF-8' standalone='yes'?>
<Relationships xmlns="http://schemas.openxmlformats.org/package/2006/relationships"><Relationship Id="rId1" Type="http://schemas.openxmlformats.org/officeDocument/2006/relationships/tags" Target="../tags/tag7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0.xml"/></Relationships>
</file>

<file path=ppt/slides/_rels/slide692.xml.rels><?xml version='1.0' encoding='UTF-8' standalone='yes'?>
<Relationships xmlns="http://schemas.openxmlformats.org/package/2006/relationships"><Relationship Id="rId1" Type="http://schemas.openxmlformats.org/officeDocument/2006/relationships/tags" Target="../tags/tag7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2.xml"/></Relationships>
</file>

<file path=ppt/slides/_rels/slide693.xml.rels><?xml version='1.0' encoding='UTF-8' standalone='yes'?>
<Relationships xmlns="http://schemas.openxmlformats.org/package/2006/relationships"><Relationship Id="rId1" Type="http://schemas.openxmlformats.org/officeDocument/2006/relationships/tags" Target="../tags/tag7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3.xml"/></Relationships>
</file>

<file path=ppt/slides/_rels/slide694.xml.rels><?xml version='1.0' encoding='UTF-8' standalone='yes'?>
<Relationships xmlns="http://schemas.openxmlformats.org/package/2006/relationships"><Relationship Id="rId1" Type="http://schemas.openxmlformats.org/officeDocument/2006/relationships/tags" Target="../tags/tag7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4.xml"/></Relationships>
</file>

<file path=ppt/slides/_rels/slide697.xml.rels><?xml version='1.0' encoding='UTF-8' standalone='yes'?>
<Relationships xmlns="http://schemas.openxmlformats.org/package/2006/relationships"><Relationship Id="rId1" Type="http://schemas.openxmlformats.org/officeDocument/2006/relationships/tags" Target="../tags/tag7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7.xml"/></Relationships>
</file>

<file path=ppt/slides/_rels/slide698.xml.rels><?xml version='1.0' encoding='UTF-8' standalone='yes'?>
<Relationships xmlns="http://schemas.openxmlformats.org/package/2006/relationships"><Relationship Id="rId1" Type="http://schemas.openxmlformats.org/officeDocument/2006/relationships/tags" Target="../tags/tag7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8.xml"/></Relationships>
</file>

<file path=ppt/slides/_rels/slide699.xml.rels><?xml version='1.0' encoding='UTF-8' standalone='yes'?>
<Relationships xmlns="http://schemas.openxmlformats.org/package/2006/relationships"><Relationship Id="rId1" Type="http://schemas.openxmlformats.org/officeDocument/2006/relationships/tags" Target="../tags/tag7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Nationa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075598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Bodega Aurrer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8916411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917862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1627853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038100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3324188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Supercenter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393549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Destinatio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4094437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6952774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Destinatio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713444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Bodega Aurrer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2388483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3400425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Supercenter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3595171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9187686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7489546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All Other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8813847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3"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1163422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Express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9719749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0003055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5745622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1149367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7331841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Express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2000007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0581630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4881068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814944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Walmart Expres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258363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8360476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Express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8895298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8145043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4083127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4244175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2549059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3"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3567390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Bodega Aurrera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1683301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937775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Walmart Expres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5986925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43061428"/>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728095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0520929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1140308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Bodega Aurrera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2580773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9221473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Destinatio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43865469"/>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9655945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3"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257039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Mi Bodeg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4762419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1469199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2939020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4044900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All Other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8571067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8221313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57166112"/>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8660489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900547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Mi Bodeg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3"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8536962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5740649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3690533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6588668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Mi Bodega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4147565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Destinatio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0674268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9231487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4940541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560035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Mi Bodeg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9550982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6571815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All Other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2991073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0099439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National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356121"/>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Caribbean Bea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tal Care De Mexico Caribbean Beach Sunscreen Kids Cosmetics Crema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7932059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7348924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2330518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097404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Supercenter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3"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6562585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4480698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500969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Supercenter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86652464"/>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3345518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858671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Bodega Aurrera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569771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0068118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72599050"/>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164673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93200791"/>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9726756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31880964"/>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9546458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6128456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3617344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Supercenter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52427240"/>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Origin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990948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Nationa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005462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Walmart Supercenter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15823567"/>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4632572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2362551"/>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Supercenter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2087671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Destination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4644025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1863194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All Others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98146105"/>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8691276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673706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Supercenter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3"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44250550"/>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Express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6386399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Origin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3622068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846080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54879146"/>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Express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90160947"/>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4686563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Express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905298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All Others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985666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Walmart Supercenter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6">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22631439"/>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50540914"/>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82472370"/>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Bodega Aurrera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63978132"/>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Origin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5386935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28044396"/>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0114903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Bodega Aurrera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02685391"/>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Destination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24138907"/>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92773542"/>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Bodega Aurrera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98840322"/>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All Others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64347335"/>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0854350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Mi Bodega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78190698"/>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Origin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02848139"/>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56864358"/>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8526074"/>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Mi Bodega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411263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Supercenter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3"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89928094"/>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35257399"/>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6014340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Mi Bodega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44161307"/>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All Others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80910058"/>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Caribbean Bea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Caribbean Bea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Caribbean Bea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tal Care De Mexico Caribbean Beach Sunscreen Adults Cosmetics Crema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tal Care De Mexico Caribbean Beach Sunscreen Adults Cosmetics Crema 50+ 8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tal Care De Mexico Caribbean Beach Sunscreen Kids Cosmetics Crema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34921306"/>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Caribbean Bea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tal Care De Mexico Caribbean Beach Sunscreen Adults Sport Crema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39094890"/>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Caribbean Bea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tal Care De Mexico Caribbean Beach Sunscreen Adults Sport Crema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26929731"/>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581471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Walmart Supercenter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6">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83554677"/>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51201527"/>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9280114"/>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07695879"/>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17217283"/>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Supercenter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30152728"/>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56801088"/>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896465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Walmart Supercenter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52508232"/>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21520678"/>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11397164"/>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12720358"/>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03459800"/>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08404313"/>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Express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30589843"/>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68445361"/>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589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Express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3"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787332"/>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77969465"/>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Mi Bodega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48333854"/>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7847415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28481981"/>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95123565"/>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Origi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82167230"/>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Supercenter Origi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89326804"/>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72451019"/>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215967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Walmart Express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61063438"/>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Destinatio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20228456"/>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Supercenter Destinatio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36010196"/>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61654491"/>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86531162"/>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83829653"/>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All Others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15184003"/>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00818266"/>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44203162"/>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25666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Walmart Express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72466105"/>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Express Origi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04057930"/>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66767545"/>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70573636"/>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78431733"/>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Destinatio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61506191"/>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Express Destinatio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69609625"/>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14771603"/>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01303606"/>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748298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3"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27948775"/>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Express All Others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71290437"/>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80945956"/>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61001195"/>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Origi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53964789"/>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43900950"/>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45695220"/>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506506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Walmart Express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94349288"/>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Destinatio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81620600"/>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1524450"/>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68065397"/>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17419613"/>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Bodega Aurrera All Others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61954735"/>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91024642"/>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Origi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131007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Walmart Express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10058804"/>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Origi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08458492"/>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Mi Bodega Origi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53036455"/>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83442392"/>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Destinatio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64432928"/>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Destinatio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80020783"/>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Mi Bodega Destinatio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61633036"/>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34428447"/>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All Others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187170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Express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3"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22079628"/>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Mi Bodega All Others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26489677"/>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41403667"/>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28972470"/>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64470915"/>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47500000"/>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31209270"/>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National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06284633"/>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Eucer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22310468"/>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Eucer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60864092"/>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68933211"/>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49813000"/>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63345960"/>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53951003"/>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69927776"/>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02970395"/>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93848"/>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416364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Walmart Express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07801520"/>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38891797"/>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81219588"/>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10905476"/>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17751464"/>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38832560"/>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73595978"/>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71514598"/>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503373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Bodega Aurrera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3"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82310054"/>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68547001"/>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05796373"/>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24465035"/>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68942494"/>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Bodega Aurrera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74677383"/>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01401037"/>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48016569"/>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84286218"/>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40065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Bodega Aurrera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41821314"/>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98812475"/>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70478845"/>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54593735"/>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Expres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50221930"/>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00729807"/>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92935930"/>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14919633"/>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09608921"/>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450659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Bodega Aurrera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94678661"/>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16659120"/>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75217791"/>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Mi Bodega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28028084"/>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40663197"/>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11246007"/>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21270665"/>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Origi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25702699"/>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293648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Bodega Aurrera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73316501"/>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Supercenter Origi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55037800"/>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90709808"/>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Origi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38060292"/>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68136658"/>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69195765"/>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Destinatio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67034137"/>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73944265"/>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Destinatio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946864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Walma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6">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80638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Bodega Aurrera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44442263"/>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0055379"/>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Destinatio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6382400"/>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6295345"/>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96347698"/>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All Others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11747374"/>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25611260"/>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All Other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34819345"/>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Supercenter All Other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49878992"/>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49813617"/>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63389534"/>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57901583"/>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84675635"/>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22396940"/>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Origi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24152750"/>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Express Origi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42620972"/>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509628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Bodega Aurrera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3"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98811087"/>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90833500"/>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74471771"/>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Destinatio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55844751"/>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95715880"/>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Destinatio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91790436"/>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Express Destinatio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83449140"/>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35310683"/>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Destinatio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9253065"/>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996102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Bodega Aurrera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49467995"/>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3037839"/>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39807664"/>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All Others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61076711"/>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All Other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39929722"/>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Express All Other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69474794"/>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09239850"/>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32196637"/>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01736983"/>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Origi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4290938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Bodega Aurrera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49967814"/>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Origi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95489240"/>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Origi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73609085"/>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Bodega Aurrera Origi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21576185"/>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Origi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3676540"/>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03976357"/>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53879976"/>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Destinatio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94916072"/>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13293377"/>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Bodega Aurrera Destinatio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32731025"/>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Destinatio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12165957"/>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16577535"/>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59466006"/>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47907707"/>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All Other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873142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Mi Bodega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42366420"/>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Bodega Aurrera All Other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79088124"/>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79309277"/>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45110888"/>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0212111"/>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Origi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27529747"/>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Origi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76693624"/>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Origi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6441956"/>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Mi Bodega Origi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111689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Mi Bodega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79076719"/>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Origi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88300134"/>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Origi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90947634"/>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26937415"/>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Destinatio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08401186"/>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Destinatio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18953449"/>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Destinatio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77509825"/>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Destinatio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69303132"/>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Mi Bodega Destinatio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6894607"/>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All Others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5337013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Mi Bodega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5312088"/>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All Others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96447007"/>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All Other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06256623"/>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All Other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6899698"/>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Mi Bodega All Other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59792097"/>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37511354"/>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Nationa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04315208"/>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48586503"/>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Supercenter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5799964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Mi Bodega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56716837"/>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Bodega Aurrer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63626263"/>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Expres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26927588"/>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Mi Bodeg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81775274"/>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Supercenter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59145521"/>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Supercenter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61083255"/>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Express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25106772"/>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Express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23141042"/>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Express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34934969"/>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Bodega Aurrera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8534889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Mi Bodega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29235110"/>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Bodega Aurrera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34116769"/>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Mi Bodega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61941514"/>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Mi Bodega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99502649"/>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Mi Bodega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80272453"/>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45490965"/>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Tanning Adults Cosmetics Aceite 6 - 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57384987"/>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35964762"/>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46762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Mi Bodega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05017207"/>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8085922"/>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01676825"/>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05675835"/>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0655060"/>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87886110"/>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76591407"/>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23526979"/>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68002866"/>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58917431"/>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01108073"/>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11587624"/>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8724072"/>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55558526"/>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43473136"/>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24533527"/>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122200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Mi Bodega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65287134"/>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91929869"/>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41618337"/>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53898297"/>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21729067"/>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00801930"/>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59092880"/>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9893688"/>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24771966"/>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221352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50933767"/>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90422056"/>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84259041"/>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71187936"/>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11537729"/>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17821981"/>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32332638"/>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39122495"/>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758198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9278083"/>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67683893"/>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28222688"/>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37210175"/>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Destinatio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13940906"/>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65287030"/>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All Other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11128081"/>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14895880"/>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100411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National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3">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07210808"/>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54955838"/>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68233003"/>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55779735"/>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0598973"/>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89312180"/>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05661337"/>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02366122"/>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1"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9">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6386846"/>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078840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Tanning Adults Cosmetics Aceite 6 - 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35632225"/>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26738660"/>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21814454"/>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72472894"/>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01500639"/>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69745647"/>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52825354"/>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03457537"/>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1"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9">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88991716"/>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9216721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Tanning Adults Cosmetics Aceite 6 - 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94783342"/>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1127477"/>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40175818"/>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39197726"/>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93701649"/>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02300513"/>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87608358"/>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8">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00101987"/>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Origin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212948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06579229"/>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84904631"/>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8">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31104056"/>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All Others | Sunscreen Kid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51435808"/>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04427530"/>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00555496"/>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95846818"/>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273377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Supercenter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3"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148895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29213274"/>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07929375"/>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37140182"/>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82764653"/>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1"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9">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10303134"/>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39889928"/>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77109446"/>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512713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33731878"/>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72570107"/>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47240837"/>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74580763"/>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1"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9">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67753216"/>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33851935"/>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78628981"/>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86202968"/>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052807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63086644"/>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0">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35133257"/>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18393"/>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86781674"/>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Origi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7">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68269398"/>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26367702"/>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Destination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2250133"/>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0154044"/>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All Others | Sunscreen Cosmetic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8">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06396155"/>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25249315"/>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6566654"/>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63820663"/>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73176928"/>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34019106"/>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58011411"/>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06731809"/>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03976219"/>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28444599"/>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7340500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23777414"/>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87938298"/>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13645018"/>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69096127"/>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6698021"/>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55409212"/>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65486553"/>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54790199"/>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8751774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44787593"/>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98558033"/>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39355344"/>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42932680"/>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30664863"/>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39888042"/>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13457825"/>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00010021"/>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726082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48166072"/>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61776460"/>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53311063"/>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36473956"/>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13436973"/>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65751329"/>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6023696"/>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64977508"/>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8794236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41324313"/>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90865814"/>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14098199"/>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47319430"/>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77806429"/>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44907209"/>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34871603"/>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45847030"/>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6110276"/>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2084381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92293939"/>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62563000"/>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52135053"/>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600362"/>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76292509"/>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85534386"/>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24732475"/>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26298470"/>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6754824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77242344"/>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Origi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58620419"/>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Origi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40579787"/>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81960528"/>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Destination | No Spray Crem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95935923"/>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All Others | No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60510077"/>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All Other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32590402"/>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Mi Bodega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521752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Walmart Supercenter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6">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3870072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Supercenter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1048645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9391622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05801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594781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7614438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Bodega Aurrera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937595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3742067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6960052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0163595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8021631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3"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4493661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Expres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296938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9563332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Expres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0258964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562181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Bodega Aurrer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3"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4082251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2187033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Mi Bodega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9475970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9882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Mi Bodega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8662761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Mi Bodega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8561091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9309434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0"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7431147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6/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Walmart Supercenter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840426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0</cp:revision>
  <dcterms:created xsi:type="dcterms:W3CDTF">2024-07-05T14:56:51Z</dcterms:created>
  <dcterms:modified xsi:type="dcterms:W3CDTF">2025-07-06T08:51:34Z</dcterms:modified>
</cp:coreProperties>
</file>